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1"/>
  </p:notesMasterIdLst>
  <p:sldIdLst>
    <p:sldId id="256" r:id="rId5"/>
    <p:sldId id="295" r:id="rId6"/>
    <p:sldId id="294" r:id="rId7"/>
    <p:sldId id="296" r:id="rId8"/>
    <p:sldId id="298" r:id="rId9"/>
    <p:sldId id="300" r:id="rId10"/>
  </p:sldIdLst>
  <p:sldSz cx="12192000" cy="6858000"/>
  <p:notesSz cx="7010400" cy="92964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C322D"/>
    <a:srgbClr val="663300"/>
    <a:srgbClr val="C5E0B4"/>
    <a:srgbClr val="F4B1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BFA8B7-18CE-081D-97F3-BC44CA291CB7}" v="26" dt="2023-10-17T02:08:10.318"/>
    <p1510:client id="{F08CA262-08D4-41D9-8791-62FB9E3D495E}" v="6" dt="2023-10-17T07:12:18.743"/>
    <p1510:client id="{FE4B872C-FB16-CCDB-E35A-F35E331F18A9}" v="268" dt="2023-10-16T07:33:33.21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5" d="100"/>
          <a:sy n="115" d="100"/>
        </p:scale>
        <p:origin x="634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y Ann Magadia" userId="S::mmagadia@adb.org::1d9742bb-e3f4-43f2-905f-812d8d1d8b7c" providerId="AD" clId="Web-{BC6C8830-EB40-4E0F-5431-597EAB261D7E}"/>
    <pc:docChg chg="modSld">
      <pc:chgData name="Mary Ann Magadia" userId="S::mmagadia@adb.org::1d9742bb-e3f4-43f2-905f-812d8d1d8b7c" providerId="AD" clId="Web-{BC6C8830-EB40-4E0F-5431-597EAB261D7E}" dt="2023-10-16T00:22:17.691" v="1" actId="1076"/>
      <pc:docMkLst>
        <pc:docMk/>
      </pc:docMkLst>
      <pc:sldChg chg="modSp">
        <pc:chgData name="Mary Ann Magadia" userId="S::mmagadia@adb.org::1d9742bb-e3f4-43f2-905f-812d8d1d8b7c" providerId="AD" clId="Web-{BC6C8830-EB40-4E0F-5431-597EAB261D7E}" dt="2023-10-16T00:22:17.691" v="1" actId="1076"/>
        <pc:sldMkLst>
          <pc:docMk/>
          <pc:sldMk cId="3502239725" sldId="300"/>
        </pc:sldMkLst>
        <pc:spChg chg="mod">
          <ac:chgData name="Mary Ann Magadia" userId="S::mmagadia@adb.org::1d9742bb-e3f4-43f2-905f-812d8d1d8b7c" providerId="AD" clId="Web-{BC6C8830-EB40-4E0F-5431-597EAB261D7E}" dt="2023-10-16T00:22:14.285" v="0" actId="1076"/>
          <ac:spMkLst>
            <pc:docMk/>
            <pc:sldMk cId="3502239725" sldId="300"/>
            <ac:spMk id="5" creationId="{20B30706-CF35-0C10-96AB-03485E0410D7}"/>
          </ac:spMkLst>
        </pc:spChg>
        <pc:spChg chg="mod">
          <ac:chgData name="Mary Ann Magadia" userId="S::mmagadia@adb.org::1d9742bb-e3f4-43f2-905f-812d8d1d8b7c" providerId="AD" clId="Web-{BC6C8830-EB40-4E0F-5431-597EAB261D7E}" dt="2023-10-16T00:22:17.691" v="1" actId="1076"/>
          <ac:spMkLst>
            <pc:docMk/>
            <pc:sldMk cId="3502239725" sldId="300"/>
            <ac:spMk id="27" creationId="{26D5FFBF-0595-3F69-F46A-4DBABE1890CA}"/>
          </ac:spMkLst>
        </pc:spChg>
      </pc:sldChg>
    </pc:docChg>
  </pc:docChgLst>
  <pc:docChgLst>
    <pc:chgData name="Dorothea C. Lazaro" userId="S::dlazaro@adb.org::805b2f41-9d5e-4ff4-8a46-e4c17eaa3090" providerId="AD" clId="Web-{F82F7175-48DA-DB73-E681-A60C3DFC6314}"/>
    <pc:docChg chg="modSld">
      <pc:chgData name="Dorothea C. Lazaro" userId="S::dlazaro@adb.org::805b2f41-9d5e-4ff4-8a46-e4c17eaa3090" providerId="AD" clId="Web-{F82F7175-48DA-DB73-E681-A60C3DFC6314}" dt="2023-10-11T03:48:09.314" v="3" actId="20577"/>
      <pc:docMkLst>
        <pc:docMk/>
      </pc:docMkLst>
      <pc:sldChg chg="modSp">
        <pc:chgData name="Dorothea C. Lazaro" userId="S::dlazaro@adb.org::805b2f41-9d5e-4ff4-8a46-e4c17eaa3090" providerId="AD" clId="Web-{F82F7175-48DA-DB73-E681-A60C3DFC6314}" dt="2023-10-11T03:48:09.314" v="3" actId="20577"/>
        <pc:sldMkLst>
          <pc:docMk/>
          <pc:sldMk cId="1714557018" sldId="256"/>
        </pc:sldMkLst>
        <pc:spChg chg="mod">
          <ac:chgData name="Dorothea C. Lazaro" userId="S::dlazaro@adb.org::805b2f41-9d5e-4ff4-8a46-e4c17eaa3090" providerId="AD" clId="Web-{F82F7175-48DA-DB73-E681-A60C3DFC6314}" dt="2023-10-11T03:48:09.314" v="3" actId="20577"/>
          <ac:spMkLst>
            <pc:docMk/>
            <pc:sldMk cId="1714557018" sldId="256"/>
            <ac:spMk id="2" creationId="{7606ECCD-D7E4-91F6-1669-78752983AD2F}"/>
          </ac:spMkLst>
        </pc:spChg>
      </pc:sldChg>
    </pc:docChg>
  </pc:docChgLst>
  <pc:docChgLst>
    <pc:chgData name="Mary Ann Magadia" userId="S::mmagadia@adb.org::1d9742bb-e3f4-43f2-905f-812d8d1d8b7c" providerId="AD" clId="Web-{09BFA8B7-18CE-081D-97F3-BC44CA291CB7}"/>
    <pc:docChg chg="modSld">
      <pc:chgData name="Mary Ann Magadia" userId="S::mmagadia@adb.org::1d9742bb-e3f4-43f2-905f-812d8d1d8b7c" providerId="AD" clId="Web-{09BFA8B7-18CE-081D-97F3-BC44CA291CB7}" dt="2023-10-17T02:08:10.318" v="25" actId="20577"/>
      <pc:docMkLst>
        <pc:docMk/>
      </pc:docMkLst>
      <pc:sldChg chg="modSp">
        <pc:chgData name="Mary Ann Magadia" userId="S::mmagadia@adb.org::1d9742bb-e3f4-43f2-905f-812d8d1d8b7c" providerId="AD" clId="Web-{09BFA8B7-18CE-081D-97F3-BC44CA291CB7}" dt="2023-10-17T02:07:34.770" v="18" actId="1076"/>
        <pc:sldMkLst>
          <pc:docMk/>
          <pc:sldMk cId="4003325401" sldId="294"/>
        </pc:sldMkLst>
        <pc:spChg chg="mod">
          <ac:chgData name="Mary Ann Magadia" userId="S::mmagadia@adb.org::1d9742bb-e3f4-43f2-905f-812d8d1d8b7c" providerId="AD" clId="Web-{09BFA8B7-18CE-081D-97F3-BC44CA291CB7}" dt="2023-10-17T02:07:34.255" v="0" actId="1076"/>
          <ac:spMkLst>
            <pc:docMk/>
            <pc:sldMk cId="4003325401" sldId="294"/>
            <ac:spMk id="5" creationId="{94FC683E-E650-BF3F-3AE0-6E4BAA06FD80}"/>
          </ac:spMkLst>
        </pc:spChg>
        <pc:spChg chg="mod">
          <ac:chgData name="Mary Ann Magadia" userId="S::mmagadia@adb.org::1d9742bb-e3f4-43f2-905f-812d8d1d8b7c" providerId="AD" clId="Web-{09BFA8B7-18CE-081D-97F3-BC44CA291CB7}" dt="2023-10-17T02:07:34.286" v="1" actId="1076"/>
          <ac:spMkLst>
            <pc:docMk/>
            <pc:sldMk cId="4003325401" sldId="294"/>
            <ac:spMk id="15" creationId="{4B908C59-18D8-DD00-C2E1-391034504558}"/>
          </ac:spMkLst>
        </pc:spChg>
        <pc:spChg chg="mod">
          <ac:chgData name="Mary Ann Magadia" userId="S::mmagadia@adb.org::1d9742bb-e3f4-43f2-905f-812d8d1d8b7c" providerId="AD" clId="Web-{09BFA8B7-18CE-081D-97F3-BC44CA291CB7}" dt="2023-10-17T02:07:34.317" v="2" actId="1076"/>
          <ac:spMkLst>
            <pc:docMk/>
            <pc:sldMk cId="4003325401" sldId="294"/>
            <ac:spMk id="16" creationId="{D0DA770B-5EBA-6C55-D7C0-0D74460A7ADD}"/>
          </ac:spMkLst>
        </pc:spChg>
        <pc:spChg chg="mod">
          <ac:chgData name="Mary Ann Magadia" userId="S::mmagadia@adb.org::1d9742bb-e3f4-43f2-905f-812d8d1d8b7c" providerId="AD" clId="Web-{09BFA8B7-18CE-081D-97F3-BC44CA291CB7}" dt="2023-10-17T02:07:34.333" v="3" actId="1076"/>
          <ac:spMkLst>
            <pc:docMk/>
            <pc:sldMk cId="4003325401" sldId="294"/>
            <ac:spMk id="17" creationId="{6EA0D0BD-C28B-B2FF-A27C-80D668EABB76}"/>
          </ac:spMkLst>
        </pc:spChg>
        <pc:spChg chg="mod">
          <ac:chgData name="Mary Ann Magadia" userId="S::mmagadia@adb.org::1d9742bb-e3f4-43f2-905f-812d8d1d8b7c" providerId="AD" clId="Web-{09BFA8B7-18CE-081D-97F3-BC44CA291CB7}" dt="2023-10-17T02:07:34.364" v="4" actId="1076"/>
          <ac:spMkLst>
            <pc:docMk/>
            <pc:sldMk cId="4003325401" sldId="294"/>
            <ac:spMk id="18" creationId="{AB770AE1-315D-4AD6-DBA6-28F7D0E0CC4E}"/>
          </ac:spMkLst>
        </pc:spChg>
        <pc:spChg chg="mod">
          <ac:chgData name="Mary Ann Magadia" userId="S::mmagadia@adb.org::1d9742bb-e3f4-43f2-905f-812d8d1d8b7c" providerId="AD" clId="Web-{09BFA8B7-18CE-081D-97F3-BC44CA291CB7}" dt="2023-10-17T02:07:34.395" v="5" actId="1076"/>
          <ac:spMkLst>
            <pc:docMk/>
            <pc:sldMk cId="4003325401" sldId="294"/>
            <ac:spMk id="19" creationId="{CDDDC067-2A0F-38A4-9D29-9E878204CE0F}"/>
          </ac:spMkLst>
        </pc:spChg>
        <pc:spChg chg="mod">
          <ac:chgData name="Mary Ann Magadia" userId="S::mmagadia@adb.org::1d9742bb-e3f4-43f2-905f-812d8d1d8b7c" providerId="AD" clId="Web-{09BFA8B7-18CE-081D-97F3-BC44CA291CB7}" dt="2023-10-17T02:07:34.426" v="6" actId="1076"/>
          <ac:spMkLst>
            <pc:docMk/>
            <pc:sldMk cId="4003325401" sldId="294"/>
            <ac:spMk id="20" creationId="{86E34D12-425B-19D1-2CA9-4B97BAE717AF}"/>
          </ac:spMkLst>
        </pc:spChg>
        <pc:spChg chg="mod">
          <ac:chgData name="Mary Ann Magadia" userId="S::mmagadia@adb.org::1d9742bb-e3f4-43f2-905f-812d8d1d8b7c" providerId="AD" clId="Web-{09BFA8B7-18CE-081D-97F3-BC44CA291CB7}" dt="2023-10-17T02:07:34.458" v="7" actId="1076"/>
          <ac:spMkLst>
            <pc:docMk/>
            <pc:sldMk cId="4003325401" sldId="294"/>
            <ac:spMk id="21" creationId="{EBA57632-8337-D681-3E92-D3071477A0AA}"/>
          </ac:spMkLst>
        </pc:spChg>
        <pc:spChg chg="mod">
          <ac:chgData name="Mary Ann Magadia" userId="S::mmagadia@adb.org::1d9742bb-e3f4-43f2-905f-812d8d1d8b7c" providerId="AD" clId="Web-{09BFA8B7-18CE-081D-97F3-BC44CA291CB7}" dt="2023-10-17T02:07:34.489" v="8" actId="1076"/>
          <ac:spMkLst>
            <pc:docMk/>
            <pc:sldMk cId="4003325401" sldId="294"/>
            <ac:spMk id="22" creationId="{3FF06562-E9DB-46E3-9B03-E7FD10A6516C}"/>
          </ac:spMkLst>
        </pc:spChg>
        <pc:spChg chg="mod">
          <ac:chgData name="Mary Ann Magadia" userId="S::mmagadia@adb.org::1d9742bb-e3f4-43f2-905f-812d8d1d8b7c" providerId="AD" clId="Web-{09BFA8B7-18CE-081D-97F3-BC44CA291CB7}" dt="2023-10-17T02:07:34.520" v="9" actId="1076"/>
          <ac:spMkLst>
            <pc:docMk/>
            <pc:sldMk cId="4003325401" sldId="294"/>
            <ac:spMk id="23" creationId="{056AD995-9495-C644-A6B9-B1DC688477C9}"/>
          </ac:spMkLst>
        </pc:spChg>
        <pc:spChg chg="mod">
          <ac:chgData name="Mary Ann Magadia" userId="S::mmagadia@adb.org::1d9742bb-e3f4-43f2-905f-812d8d1d8b7c" providerId="AD" clId="Web-{09BFA8B7-18CE-081D-97F3-BC44CA291CB7}" dt="2023-10-17T02:07:34.536" v="10" actId="1076"/>
          <ac:spMkLst>
            <pc:docMk/>
            <pc:sldMk cId="4003325401" sldId="294"/>
            <ac:spMk id="24" creationId="{E11D4689-F401-6878-22E3-4B6668832794}"/>
          </ac:spMkLst>
        </pc:spChg>
        <pc:spChg chg="mod">
          <ac:chgData name="Mary Ann Magadia" userId="S::mmagadia@adb.org::1d9742bb-e3f4-43f2-905f-812d8d1d8b7c" providerId="AD" clId="Web-{09BFA8B7-18CE-081D-97F3-BC44CA291CB7}" dt="2023-10-17T02:07:34.567" v="11" actId="1076"/>
          <ac:spMkLst>
            <pc:docMk/>
            <pc:sldMk cId="4003325401" sldId="294"/>
            <ac:spMk id="25" creationId="{9331BCD6-4A16-2715-389E-1DCBB8E93B26}"/>
          </ac:spMkLst>
        </pc:spChg>
        <pc:spChg chg="mod">
          <ac:chgData name="Mary Ann Magadia" userId="S::mmagadia@adb.org::1d9742bb-e3f4-43f2-905f-812d8d1d8b7c" providerId="AD" clId="Web-{09BFA8B7-18CE-081D-97F3-BC44CA291CB7}" dt="2023-10-17T02:07:34.598" v="12" actId="1076"/>
          <ac:spMkLst>
            <pc:docMk/>
            <pc:sldMk cId="4003325401" sldId="294"/>
            <ac:spMk id="26" creationId="{89C35CE4-3829-8211-EE7E-B76E5EFD14F0}"/>
          </ac:spMkLst>
        </pc:spChg>
        <pc:picChg chg="mod">
          <ac:chgData name="Mary Ann Magadia" userId="S::mmagadia@adb.org::1d9742bb-e3f4-43f2-905f-812d8d1d8b7c" providerId="AD" clId="Web-{09BFA8B7-18CE-081D-97F3-BC44CA291CB7}" dt="2023-10-17T02:07:34.630" v="13" actId="1076"/>
          <ac:picMkLst>
            <pc:docMk/>
            <pc:sldMk cId="4003325401" sldId="294"/>
            <ac:picMk id="27" creationId="{462BDC96-9D38-C49E-E496-856C542C8AE5}"/>
          </ac:picMkLst>
        </pc:picChg>
        <pc:picChg chg="mod">
          <ac:chgData name="Mary Ann Magadia" userId="S::mmagadia@adb.org::1d9742bb-e3f4-43f2-905f-812d8d1d8b7c" providerId="AD" clId="Web-{09BFA8B7-18CE-081D-97F3-BC44CA291CB7}" dt="2023-10-17T02:07:34.661" v="14" actId="1076"/>
          <ac:picMkLst>
            <pc:docMk/>
            <pc:sldMk cId="4003325401" sldId="294"/>
            <ac:picMk id="28" creationId="{4E7FF486-4A12-4AE5-7F44-000F62417176}"/>
          </ac:picMkLst>
        </pc:picChg>
        <pc:picChg chg="mod">
          <ac:chgData name="Mary Ann Magadia" userId="S::mmagadia@adb.org::1d9742bb-e3f4-43f2-905f-812d8d1d8b7c" providerId="AD" clId="Web-{09BFA8B7-18CE-081D-97F3-BC44CA291CB7}" dt="2023-10-17T02:07:34.692" v="15" actId="1076"/>
          <ac:picMkLst>
            <pc:docMk/>
            <pc:sldMk cId="4003325401" sldId="294"/>
            <ac:picMk id="29" creationId="{8610DC4C-C106-39AF-8EEA-1D44092FA27C}"/>
          </ac:picMkLst>
        </pc:picChg>
        <pc:picChg chg="mod">
          <ac:chgData name="Mary Ann Magadia" userId="S::mmagadia@adb.org::1d9742bb-e3f4-43f2-905f-812d8d1d8b7c" providerId="AD" clId="Web-{09BFA8B7-18CE-081D-97F3-BC44CA291CB7}" dt="2023-10-17T02:07:34.723" v="16" actId="1076"/>
          <ac:picMkLst>
            <pc:docMk/>
            <pc:sldMk cId="4003325401" sldId="294"/>
            <ac:picMk id="30" creationId="{05FD483E-33E2-9921-3A07-CCAA4D6C039A}"/>
          </ac:picMkLst>
        </pc:picChg>
        <pc:picChg chg="mod">
          <ac:chgData name="Mary Ann Magadia" userId="S::mmagadia@adb.org::1d9742bb-e3f4-43f2-905f-812d8d1d8b7c" providerId="AD" clId="Web-{09BFA8B7-18CE-081D-97F3-BC44CA291CB7}" dt="2023-10-17T02:07:34.739" v="17" actId="1076"/>
          <ac:picMkLst>
            <pc:docMk/>
            <pc:sldMk cId="4003325401" sldId="294"/>
            <ac:picMk id="31" creationId="{47A121BF-E70B-D5F1-63A1-176C5DEEF712}"/>
          </ac:picMkLst>
        </pc:picChg>
        <pc:picChg chg="mod">
          <ac:chgData name="Mary Ann Magadia" userId="S::mmagadia@adb.org::1d9742bb-e3f4-43f2-905f-812d8d1d8b7c" providerId="AD" clId="Web-{09BFA8B7-18CE-081D-97F3-BC44CA291CB7}" dt="2023-10-17T02:07:34.770" v="18" actId="1076"/>
          <ac:picMkLst>
            <pc:docMk/>
            <pc:sldMk cId="4003325401" sldId="294"/>
            <ac:picMk id="32" creationId="{62D8A9E2-871C-F43E-87BF-0DCB90B44133}"/>
          </ac:picMkLst>
        </pc:picChg>
      </pc:sldChg>
      <pc:sldChg chg="modSp">
        <pc:chgData name="Mary Ann Magadia" userId="S::mmagadia@adb.org::1d9742bb-e3f4-43f2-905f-812d8d1d8b7c" providerId="AD" clId="Web-{09BFA8B7-18CE-081D-97F3-BC44CA291CB7}" dt="2023-10-17T02:08:10.318" v="25" actId="20577"/>
        <pc:sldMkLst>
          <pc:docMk/>
          <pc:sldMk cId="412158556" sldId="298"/>
        </pc:sldMkLst>
        <pc:spChg chg="mod">
          <ac:chgData name="Mary Ann Magadia" userId="S::mmagadia@adb.org::1d9742bb-e3f4-43f2-905f-812d8d1d8b7c" providerId="AD" clId="Web-{09BFA8B7-18CE-081D-97F3-BC44CA291CB7}" dt="2023-10-17T02:08:10.318" v="25" actId="20577"/>
          <ac:spMkLst>
            <pc:docMk/>
            <pc:sldMk cId="412158556" sldId="298"/>
            <ac:spMk id="17" creationId="{6F0ABB95-227F-708A-C8F0-0E1C6229EF5F}"/>
          </ac:spMkLst>
        </pc:spChg>
      </pc:sldChg>
    </pc:docChg>
  </pc:docChgLst>
  <pc:docChgLst>
    <pc:chgData name="Dorothea C. Lazaro" userId="S::dlazaro@adb.org::805b2f41-9d5e-4ff4-8a46-e4c17eaa3090" providerId="AD" clId="Web-{A1083DA8-B4AB-C9FA-2585-6A388A2958A3}"/>
    <pc:docChg chg="modSld">
      <pc:chgData name="Dorothea C. Lazaro" userId="S::dlazaro@adb.org::805b2f41-9d5e-4ff4-8a46-e4c17eaa3090" providerId="AD" clId="Web-{A1083DA8-B4AB-C9FA-2585-6A388A2958A3}" dt="2023-10-12T01:12:52.022" v="4" actId="1076"/>
      <pc:docMkLst>
        <pc:docMk/>
      </pc:docMkLst>
      <pc:sldChg chg="addSp modSp">
        <pc:chgData name="Dorothea C. Lazaro" userId="S::dlazaro@adb.org::805b2f41-9d5e-4ff4-8a46-e4c17eaa3090" providerId="AD" clId="Web-{A1083DA8-B4AB-C9FA-2585-6A388A2958A3}" dt="2023-10-12T01:12:52.022" v="4" actId="1076"/>
        <pc:sldMkLst>
          <pc:docMk/>
          <pc:sldMk cId="1714557018" sldId="256"/>
        </pc:sldMkLst>
        <pc:picChg chg="add mod">
          <ac:chgData name="Dorothea C. Lazaro" userId="S::dlazaro@adb.org::805b2f41-9d5e-4ff4-8a46-e4c17eaa3090" providerId="AD" clId="Web-{A1083DA8-B4AB-C9FA-2585-6A388A2958A3}" dt="2023-10-12T01:12:52.022" v="4" actId="1076"/>
          <ac:picMkLst>
            <pc:docMk/>
            <pc:sldMk cId="1714557018" sldId="256"/>
            <ac:picMk id="4" creationId="{20B6C6AF-B77D-346A-6D06-F07FD878C0A7}"/>
          </ac:picMkLst>
        </pc:picChg>
      </pc:sldChg>
    </pc:docChg>
  </pc:docChgLst>
  <pc:docChgLst>
    <pc:chgData name="Mary Ann Magadia" userId="1d9742bb-e3f4-43f2-905f-812d8d1d8b7c" providerId="ADAL" clId="{A6060824-5F2B-4732-8492-4CC1A260F595}"/>
    <pc:docChg chg="undo custSel modSld modMainMaster">
      <pc:chgData name="Mary Ann Magadia" userId="1d9742bb-e3f4-43f2-905f-812d8d1d8b7c" providerId="ADAL" clId="{A6060824-5F2B-4732-8492-4CC1A260F595}" dt="2023-10-17T02:11:30.885" v="105" actId="14100"/>
      <pc:docMkLst>
        <pc:docMk/>
      </pc:docMkLst>
      <pc:sldChg chg="delSp modSp mod">
        <pc:chgData name="Mary Ann Magadia" userId="1d9742bb-e3f4-43f2-905f-812d8d1d8b7c" providerId="ADAL" clId="{A6060824-5F2B-4732-8492-4CC1A260F595}" dt="2023-10-13T07:45:42.921" v="3" actId="1076"/>
        <pc:sldMkLst>
          <pc:docMk/>
          <pc:sldMk cId="1714557018" sldId="256"/>
        </pc:sldMkLst>
        <pc:picChg chg="mod">
          <ac:chgData name="Mary Ann Magadia" userId="1d9742bb-e3f4-43f2-905f-812d8d1d8b7c" providerId="ADAL" clId="{A6060824-5F2B-4732-8492-4CC1A260F595}" dt="2023-10-13T07:45:42.921" v="3" actId="1076"/>
          <ac:picMkLst>
            <pc:docMk/>
            <pc:sldMk cId="1714557018" sldId="256"/>
            <ac:picMk id="4" creationId="{20B6C6AF-B77D-346A-6D06-F07FD878C0A7}"/>
          </ac:picMkLst>
        </pc:picChg>
        <pc:picChg chg="mod">
          <ac:chgData name="Mary Ann Magadia" userId="1d9742bb-e3f4-43f2-905f-812d8d1d8b7c" providerId="ADAL" clId="{A6060824-5F2B-4732-8492-4CC1A260F595}" dt="2023-10-12T01:05:10.251" v="1" actId="1076"/>
          <ac:picMkLst>
            <pc:docMk/>
            <pc:sldMk cId="1714557018" sldId="256"/>
            <ac:picMk id="6" creationId="{2A18AACE-39DF-F1BE-4C06-C992B97F395A}"/>
          </ac:picMkLst>
        </pc:picChg>
        <pc:picChg chg="del">
          <ac:chgData name="Mary Ann Magadia" userId="1d9742bb-e3f4-43f2-905f-812d8d1d8b7c" providerId="ADAL" clId="{A6060824-5F2B-4732-8492-4CC1A260F595}" dt="2023-10-12T01:05:06.705" v="0" actId="478"/>
          <ac:picMkLst>
            <pc:docMk/>
            <pc:sldMk cId="1714557018" sldId="256"/>
            <ac:picMk id="7" creationId="{156C5518-E306-74AA-5A66-E7BFE120678A}"/>
          </ac:picMkLst>
        </pc:picChg>
      </pc:sldChg>
      <pc:sldChg chg="modSp mod">
        <pc:chgData name="Mary Ann Magadia" userId="1d9742bb-e3f4-43f2-905f-812d8d1d8b7c" providerId="ADAL" clId="{A6060824-5F2B-4732-8492-4CC1A260F595}" dt="2023-10-14T03:10:06.159" v="4" actId="1076"/>
        <pc:sldMkLst>
          <pc:docMk/>
          <pc:sldMk cId="314205312" sldId="287"/>
        </pc:sldMkLst>
        <pc:picChg chg="mod">
          <ac:chgData name="Mary Ann Magadia" userId="1d9742bb-e3f4-43f2-905f-812d8d1d8b7c" providerId="ADAL" clId="{A6060824-5F2B-4732-8492-4CC1A260F595}" dt="2023-10-14T03:10:06.159" v="4" actId="1076"/>
          <ac:picMkLst>
            <pc:docMk/>
            <pc:sldMk cId="314205312" sldId="287"/>
            <ac:picMk id="4" creationId="{6ACD617C-1AE6-5998-CC60-3249F111CEA8}"/>
          </ac:picMkLst>
        </pc:picChg>
      </pc:sldChg>
      <pc:sldChg chg="modSp mod">
        <pc:chgData name="Mary Ann Magadia" userId="1d9742bb-e3f4-43f2-905f-812d8d1d8b7c" providerId="ADAL" clId="{A6060824-5F2B-4732-8492-4CC1A260F595}" dt="2023-10-14T03:18:28.396" v="88"/>
        <pc:sldMkLst>
          <pc:docMk/>
          <pc:sldMk cId="216447152" sldId="288"/>
        </pc:sldMkLst>
        <pc:spChg chg="mod">
          <ac:chgData name="Mary Ann Magadia" userId="1d9742bb-e3f4-43f2-905f-812d8d1d8b7c" providerId="ADAL" clId="{A6060824-5F2B-4732-8492-4CC1A260F595}" dt="2023-10-14T03:18:16.716" v="84" actId="404"/>
          <ac:spMkLst>
            <pc:docMk/>
            <pc:sldMk cId="216447152" sldId="288"/>
            <ac:spMk id="8" creationId="{0108755E-FD16-B9AD-61BA-7F47EDC7D4C1}"/>
          </ac:spMkLst>
        </pc:spChg>
        <pc:graphicFrameChg chg="mod">
          <ac:chgData name="Mary Ann Magadia" userId="1d9742bb-e3f4-43f2-905f-812d8d1d8b7c" providerId="ADAL" clId="{A6060824-5F2B-4732-8492-4CC1A260F595}" dt="2023-10-14T03:18:28.396" v="88"/>
          <ac:graphicFrameMkLst>
            <pc:docMk/>
            <pc:sldMk cId="216447152" sldId="288"/>
            <ac:graphicFrameMk id="6" creationId="{52A1C188-50B9-2822-D834-CCE9DCAF4015}"/>
          </ac:graphicFrameMkLst>
        </pc:graphicFrameChg>
        <pc:picChg chg="mod">
          <ac:chgData name="Mary Ann Magadia" userId="1d9742bb-e3f4-43f2-905f-812d8d1d8b7c" providerId="ADAL" clId="{A6060824-5F2B-4732-8492-4CC1A260F595}" dt="2023-10-14T03:10:36.589" v="7" actId="1076"/>
          <ac:picMkLst>
            <pc:docMk/>
            <pc:sldMk cId="216447152" sldId="288"/>
            <ac:picMk id="4" creationId="{A27D10F7-88BA-49D2-8E4E-774027868890}"/>
          </ac:picMkLst>
        </pc:picChg>
      </pc:sldChg>
      <pc:sldChg chg="modSp mod">
        <pc:chgData name="Mary Ann Magadia" userId="1d9742bb-e3f4-43f2-905f-812d8d1d8b7c" providerId="ADAL" clId="{A6060824-5F2B-4732-8492-4CC1A260F595}" dt="2023-10-14T03:12:36.712" v="32" actId="1076"/>
        <pc:sldMkLst>
          <pc:docMk/>
          <pc:sldMk cId="2926179191" sldId="289"/>
        </pc:sldMkLst>
        <pc:spChg chg="mod">
          <ac:chgData name="Mary Ann Magadia" userId="1d9742bb-e3f4-43f2-905f-812d8d1d8b7c" providerId="ADAL" clId="{A6060824-5F2B-4732-8492-4CC1A260F595}" dt="2023-10-14T03:12:36.712" v="32" actId="1076"/>
          <ac:spMkLst>
            <pc:docMk/>
            <pc:sldMk cId="2926179191" sldId="289"/>
            <ac:spMk id="3" creationId="{4E67AF58-0919-2235-79DF-741507EE1E9E}"/>
          </ac:spMkLst>
        </pc:spChg>
        <pc:picChg chg="mod">
          <ac:chgData name="Mary Ann Magadia" userId="1d9742bb-e3f4-43f2-905f-812d8d1d8b7c" providerId="ADAL" clId="{A6060824-5F2B-4732-8492-4CC1A260F595}" dt="2023-10-14T03:10:46.097" v="9" actId="1076"/>
          <ac:picMkLst>
            <pc:docMk/>
            <pc:sldMk cId="2926179191" sldId="289"/>
            <ac:picMk id="4" creationId="{15A206F1-47CF-1D30-9B2D-15A1FBEC5C6E}"/>
          </ac:picMkLst>
        </pc:picChg>
      </pc:sldChg>
      <pc:sldChg chg="addSp modSp mod">
        <pc:chgData name="Mary Ann Magadia" userId="1d9742bb-e3f4-43f2-905f-812d8d1d8b7c" providerId="ADAL" clId="{A6060824-5F2B-4732-8492-4CC1A260F595}" dt="2023-10-14T03:19:24.484" v="99" actId="1076"/>
        <pc:sldMkLst>
          <pc:docMk/>
          <pc:sldMk cId="508852249" sldId="290"/>
        </pc:sldMkLst>
        <pc:spChg chg="mod">
          <ac:chgData name="Mary Ann Magadia" userId="1d9742bb-e3f4-43f2-905f-812d8d1d8b7c" providerId="ADAL" clId="{A6060824-5F2B-4732-8492-4CC1A260F595}" dt="2023-10-14T03:15:12.676" v="54" actId="14100"/>
          <ac:spMkLst>
            <pc:docMk/>
            <pc:sldMk cId="508852249" sldId="290"/>
            <ac:spMk id="2" creationId="{A4D62CCC-5F56-CCAC-2267-14B91B08C2D3}"/>
          </ac:spMkLst>
        </pc:spChg>
        <pc:spChg chg="mod ord">
          <ac:chgData name="Mary Ann Magadia" userId="1d9742bb-e3f4-43f2-905f-812d8d1d8b7c" providerId="ADAL" clId="{A6060824-5F2B-4732-8492-4CC1A260F595}" dt="2023-10-14T03:15:15.681" v="55" actId="1076"/>
          <ac:spMkLst>
            <pc:docMk/>
            <pc:sldMk cId="508852249" sldId="290"/>
            <ac:spMk id="3" creationId="{AA263F85-93A2-ADFB-E999-3B61FFDFBFF5}"/>
          </ac:spMkLst>
        </pc:spChg>
        <pc:spChg chg="add mod">
          <ac:chgData name="Mary Ann Magadia" userId="1d9742bb-e3f4-43f2-905f-812d8d1d8b7c" providerId="ADAL" clId="{A6060824-5F2B-4732-8492-4CC1A260F595}" dt="2023-10-14T03:15:35.625" v="59" actId="14100"/>
          <ac:spMkLst>
            <pc:docMk/>
            <pc:sldMk cId="508852249" sldId="290"/>
            <ac:spMk id="8" creationId="{F0C2EC01-E477-2037-2906-8D2B94575EF5}"/>
          </ac:spMkLst>
        </pc:spChg>
        <pc:picChg chg="mod">
          <ac:chgData name="Mary Ann Magadia" userId="1d9742bb-e3f4-43f2-905f-812d8d1d8b7c" providerId="ADAL" clId="{A6060824-5F2B-4732-8492-4CC1A260F595}" dt="2023-10-14T03:19:24.484" v="99" actId="1076"/>
          <ac:picMkLst>
            <pc:docMk/>
            <pc:sldMk cId="508852249" sldId="290"/>
            <ac:picMk id="4" creationId="{632EA9FC-9C8C-304D-BD2B-9F2981F1DB43}"/>
          </ac:picMkLst>
        </pc:picChg>
        <pc:picChg chg="add mod">
          <ac:chgData name="Mary Ann Magadia" userId="1d9742bb-e3f4-43f2-905f-812d8d1d8b7c" providerId="ADAL" clId="{A6060824-5F2B-4732-8492-4CC1A260F595}" dt="2023-10-14T03:15:40.892" v="60" actId="1076"/>
          <ac:picMkLst>
            <pc:docMk/>
            <pc:sldMk cId="508852249" sldId="290"/>
            <ac:picMk id="7" creationId="{28E68E25-28D5-5CD7-5C58-B85869FADE1A}"/>
          </ac:picMkLst>
        </pc:picChg>
      </pc:sldChg>
      <pc:sldChg chg="modSp mod">
        <pc:chgData name="Mary Ann Magadia" userId="1d9742bb-e3f4-43f2-905f-812d8d1d8b7c" providerId="ADAL" clId="{A6060824-5F2B-4732-8492-4CC1A260F595}" dt="2023-10-14T03:19:20.119" v="98" actId="1076"/>
        <pc:sldMkLst>
          <pc:docMk/>
          <pc:sldMk cId="3774796691" sldId="291"/>
        </pc:sldMkLst>
        <pc:spChg chg="mod">
          <ac:chgData name="Mary Ann Magadia" userId="1d9742bb-e3f4-43f2-905f-812d8d1d8b7c" providerId="ADAL" clId="{A6060824-5F2B-4732-8492-4CC1A260F595}" dt="2023-10-14T03:19:04.477" v="96" actId="14100"/>
          <ac:spMkLst>
            <pc:docMk/>
            <pc:sldMk cId="3774796691" sldId="291"/>
            <ac:spMk id="10" creationId="{82C79F33-D020-3B33-3853-A2C748E00CA7}"/>
          </ac:spMkLst>
        </pc:spChg>
        <pc:picChg chg="mod">
          <ac:chgData name="Mary Ann Magadia" userId="1d9742bb-e3f4-43f2-905f-812d8d1d8b7c" providerId="ADAL" clId="{A6060824-5F2B-4732-8492-4CC1A260F595}" dt="2023-10-14T03:19:20.119" v="98" actId="1076"/>
          <ac:picMkLst>
            <pc:docMk/>
            <pc:sldMk cId="3774796691" sldId="291"/>
            <ac:picMk id="4" creationId="{3FD13B66-4978-936E-8D17-5DC5FE9F7B2A}"/>
          </ac:picMkLst>
        </pc:picChg>
        <pc:picChg chg="mod">
          <ac:chgData name="Mary Ann Magadia" userId="1d9742bb-e3f4-43f2-905f-812d8d1d8b7c" providerId="ADAL" clId="{A6060824-5F2B-4732-8492-4CC1A260F595}" dt="2023-10-14T03:19:07.147" v="97" actId="1076"/>
          <ac:picMkLst>
            <pc:docMk/>
            <pc:sldMk cId="3774796691" sldId="291"/>
            <ac:picMk id="7" creationId="{967E16D3-0F87-ACF3-E3A1-FFF5999D9898}"/>
          </ac:picMkLst>
        </pc:picChg>
      </pc:sldChg>
      <pc:sldChg chg="modSp mod">
        <pc:chgData name="Mary Ann Magadia" userId="1d9742bb-e3f4-43f2-905f-812d8d1d8b7c" providerId="ADAL" clId="{A6060824-5F2B-4732-8492-4CC1A260F595}" dt="2023-10-14T03:19:29.371" v="100" actId="1076"/>
        <pc:sldMkLst>
          <pc:docMk/>
          <pc:sldMk cId="3698261617" sldId="292"/>
        </pc:sldMkLst>
        <pc:picChg chg="mod">
          <ac:chgData name="Mary Ann Magadia" userId="1d9742bb-e3f4-43f2-905f-812d8d1d8b7c" providerId="ADAL" clId="{A6060824-5F2B-4732-8492-4CC1A260F595}" dt="2023-10-14T03:19:29.371" v="100" actId="1076"/>
          <ac:picMkLst>
            <pc:docMk/>
            <pc:sldMk cId="3698261617" sldId="292"/>
            <ac:picMk id="4" creationId="{F54DD768-A5C6-C077-27A9-66504D383517}"/>
          </ac:picMkLst>
        </pc:picChg>
      </pc:sldChg>
      <pc:sldChg chg="modSp mod">
        <pc:chgData name="Mary Ann Magadia" userId="1d9742bb-e3f4-43f2-905f-812d8d1d8b7c" providerId="ADAL" clId="{A6060824-5F2B-4732-8492-4CC1A260F595}" dt="2023-10-17T02:08:33.657" v="102" actId="403"/>
        <pc:sldMkLst>
          <pc:docMk/>
          <pc:sldMk cId="4003325401" sldId="294"/>
        </pc:sldMkLst>
        <pc:spChg chg="mod">
          <ac:chgData name="Mary Ann Magadia" userId="1d9742bb-e3f4-43f2-905f-812d8d1d8b7c" providerId="ADAL" clId="{A6060824-5F2B-4732-8492-4CC1A260F595}" dt="2023-10-17T02:08:33.657" v="102" actId="403"/>
          <ac:spMkLst>
            <pc:docMk/>
            <pc:sldMk cId="4003325401" sldId="294"/>
            <ac:spMk id="5" creationId="{94FC683E-E650-BF3F-3AE0-6E4BAA06FD80}"/>
          </ac:spMkLst>
        </pc:spChg>
        <pc:spChg chg="mod">
          <ac:chgData name="Mary Ann Magadia" userId="1d9742bb-e3f4-43f2-905f-812d8d1d8b7c" providerId="ADAL" clId="{A6060824-5F2B-4732-8492-4CC1A260F595}" dt="2023-10-17T02:08:33.657" v="102" actId="403"/>
          <ac:spMkLst>
            <pc:docMk/>
            <pc:sldMk cId="4003325401" sldId="294"/>
            <ac:spMk id="15" creationId="{4B908C59-18D8-DD00-C2E1-391034504558}"/>
          </ac:spMkLst>
        </pc:spChg>
        <pc:spChg chg="mod">
          <ac:chgData name="Mary Ann Magadia" userId="1d9742bb-e3f4-43f2-905f-812d8d1d8b7c" providerId="ADAL" clId="{A6060824-5F2B-4732-8492-4CC1A260F595}" dt="2023-10-17T02:08:33.657" v="102" actId="403"/>
          <ac:spMkLst>
            <pc:docMk/>
            <pc:sldMk cId="4003325401" sldId="294"/>
            <ac:spMk id="16" creationId="{D0DA770B-5EBA-6C55-D7C0-0D74460A7ADD}"/>
          </ac:spMkLst>
        </pc:spChg>
        <pc:spChg chg="mod">
          <ac:chgData name="Mary Ann Magadia" userId="1d9742bb-e3f4-43f2-905f-812d8d1d8b7c" providerId="ADAL" clId="{A6060824-5F2B-4732-8492-4CC1A260F595}" dt="2023-10-17T02:08:33.657" v="102" actId="403"/>
          <ac:spMkLst>
            <pc:docMk/>
            <pc:sldMk cId="4003325401" sldId="294"/>
            <ac:spMk id="17" creationId="{6EA0D0BD-C28B-B2FF-A27C-80D668EABB76}"/>
          </ac:spMkLst>
        </pc:spChg>
        <pc:spChg chg="mod">
          <ac:chgData name="Mary Ann Magadia" userId="1d9742bb-e3f4-43f2-905f-812d8d1d8b7c" providerId="ADAL" clId="{A6060824-5F2B-4732-8492-4CC1A260F595}" dt="2023-10-17T02:08:33.657" v="102" actId="403"/>
          <ac:spMkLst>
            <pc:docMk/>
            <pc:sldMk cId="4003325401" sldId="294"/>
            <ac:spMk id="18" creationId="{AB770AE1-315D-4AD6-DBA6-28F7D0E0CC4E}"/>
          </ac:spMkLst>
        </pc:spChg>
        <pc:spChg chg="mod">
          <ac:chgData name="Mary Ann Magadia" userId="1d9742bb-e3f4-43f2-905f-812d8d1d8b7c" providerId="ADAL" clId="{A6060824-5F2B-4732-8492-4CC1A260F595}" dt="2023-10-17T02:08:33.657" v="102" actId="403"/>
          <ac:spMkLst>
            <pc:docMk/>
            <pc:sldMk cId="4003325401" sldId="294"/>
            <ac:spMk id="19" creationId="{CDDDC067-2A0F-38A4-9D29-9E878204CE0F}"/>
          </ac:spMkLst>
        </pc:spChg>
        <pc:spChg chg="mod">
          <ac:chgData name="Mary Ann Magadia" userId="1d9742bb-e3f4-43f2-905f-812d8d1d8b7c" providerId="ADAL" clId="{A6060824-5F2B-4732-8492-4CC1A260F595}" dt="2023-10-17T02:08:33.657" v="102" actId="403"/>
          <ac:spMkLst>
            <pc:docMk/>
            <pc:sldMk cId="4003325401" sldId="294"/>
            <ac:spMk id="20" creationId="{86E34D12-425B-19D1-2CA9-4B97BAE717AF}"/>
          </ac:spMkLst>
        </pc:spChg>
        <pc:spChg chg="mod">
          <ac:chgData name="Mary Ann Magadia" userId="1d9742bb-e3f4-43f2-905f-812d8d1d8b7c" providerId="ADAL" clId="{A6060824-5F2B-4732-8492-4CC1A260F595}" dt="2023-10-17T02:08:33.657" v="102" actId="403"/>
          <ac:spMkLst>
            <pc:docMk/>
            <pc:sldMk cId="4003325401" sldId="294"/>
            <ac:spMk id="21" creationId="{EBA57632-8337-D681-3E92-D3071477A0AA}"/>
          </ac:spMkLst>
        </pc:spChg>
        <pc:spChg chg="mod">
          <ac:chgData name="Mary Ann Magadia" userId="1d9742bb-e3f4-43f2-905f-812d8d1d8b7c" providerId="ADAL" clId="{A6060824-5F2B-4732-8492-4CC1A260F595}" dt="2023-10-17T02:08:33.657" v="102" actId="403"/>
          <ac:spMkLst>
            <pc:docMk/>
            <pc:sldMk cId="4003325401" sldId="294"/>
            <ac:spMk id="22" creationId="{3FF06562-E9DB-46E3-9B03-E7FD10A6516C}"/>
          </ac:spMkLst>
        </pc:spChg>
        <pc:spChg chg="mod">
          <ac:chgData name="Mary Ann Magadia" userId="1d9742bb-e3f4-43f2-905f-812d8d1d8b7c" providerId="ADAL" clId="{A6060824-5F2B-4732-8492-4CC1A260F595}" dt="2023-10-17T02:08:33.657" v="102" actId="403"/>
          <ac:spMkLst>
            <pc:docMk/>
            <pc:sldMk cId="4003325401" sldId="294"/>
            <ac:spMk id="23" creationId="{056AD995-9495-C644-A6B9-B1DC688477C9}"/>
          </ac:spMkLst>
        </pc:spChg>
        <pc:spChg chg="mod">
          <ac:chgData name="Mary Ann Magadia" userId="1d9742bb-e3f4-43f2-905f-812d8d1d8b7c" providerId="ADAL" clId="{A6060824-5F2B-4732-8492-4CC1A260F595}" dt="2023-10-17T02:08:33.657" v="102" actId="403"/>
          <ac:spMkLst>
            <pc:docMk/>
            <pc:sldMk cId="4003325401" sldId="294"/>
            <ac:spMk id="24" creationId="{E11D4689-F401-6878-22E3-4B6668832794}"/>
          </ac:spMkLst>
        </pc:spChg>
        <pc:spChg chg="mod">
          <ac:chgData name="Mary Ann Magadia" userId="1d9742bb-e3f4-43f2-905f-812d8d1d8b7c" providerId="ADAL" clId="{A6060824-5F2B-4732-8492-4CC1A260F595}" dt="2023-10-17T02:08:33.657" v="102" actId="403"/>
          <ac:spMkLst>
            <pc:docMk/>
            <pc:sldMk cId="4003325401" sldId="294"/>
            <ac:spMk id="25" creationId="{9331BCD6-4A16-2715-389E-1DCBB8E93B26}"/>
          </ac:spMkLst>
        </pc:spChg>
        <pc:spChg chg="mod">
          <ac:chgData name="Mary Ann Magadia" userId="1d9742bb-e3f4-43f2-905f-812d8d1d8b7c" providerId="ADAL" clId="{A6060824-5F2B-4732-8492-4CC1A260F595}" dt="2023-10-17T02:08:33.657" v="102" actId="403"/>
          <ac:spMkLst>
            <pc:docMk/>
            <pc:sldMk cId="4003325401" sldId="294"/>
            <ac:spMk id="26" creationId="{89C35CE4-3829-8211-EE7E-B76E5EFD14F0}"/>
          </ac:spMkLst>
        </pc:spChg>
      </pc:sldChg>
      <pc:sldChg chg="modSp mod">
        <pc:chgData name="Mary Ann Magadia" userId="1d9742bb-e3f4-43f2-905f-812d8d1d8b7c" providerId="ADAL" clId="{A6060824-5F2B-4732-8492-4CC1A260F595}" dt="2023-10-17T02:11:30.885" v="105" actId="14100"/>
        <pc:sldMkLst>
          <pc:docMk/>
          <pc:sldMk cId="3845602710" sldId="296"/>
        </pc:sldMkLst>
        <pc:spChg chg="mod">
          <ac:chgData name="Mary Ann Magadia" userId="1d9742bb-e3f4-43f2-905f-812d8d1d8b7c" providerId="ADAL" clId="{A6060824-5F2B-4732-8492-4CC1A260F595}" dt="2023-10-17T02:11:30.885" v="105" actId="14100"/>
          <ac:spMkLst>
            <pc:docMk/>
            <pc:sldMk cId="3845602710" sldId="296"/>
            <ac:spMk id="17" creationId="{6F0ABB95-227F-708A-C8F0-0E1C6229EF5F}"/>
          </ac:spMkLst>
        </pc:spChg>
      </pc:sldChg>
      <pc:sldMasterChg chg="addSp modSp mod">
        <pc:chgData name="Mary Ann Magadia" userId="1d9742bb-e3f4-43f2-905f-812d8d1d8b7c" providerId="ADAL" clId="{A6060824-5F2B-4732-8492-4CC1A260F595}" dt="2023-10-14T03:10:20.170" v="6" actId="1076"/>
        <pc:sldMasterMkLst>
          <pc:docMk/>
          <pc:sldMasterMk cId="3667254674" sldId="2147483648"/>
        </pc:sldMasterMkLst>
        <pc:picChg chg="add mod">
          <ac:chgData name="Mary Ann Magadia" userId="1d9742bb-e3f4-43f2-905f-812d8d1d8b7c" providerId="ADAL" clId="{A6060824-5F2B-4732-8492-4CC1A260F595}" dt="2023-10-14T03:10:20.170" v="6" actId="1076"/>
          <ac:picMkLst>
            <pc:docMk/>
            <pc:sldMasterMk cId="3667254674" sldId="2147483648"/>
            <ac:picMk id="7" creationId="{1BF9F663-3111-077D-4C35-1A1A9A935478}"/>
          </ac:picMkLst>
        </pc:picChg>
      </pc:sldMasterChg>
    </pc:docChg>
  </pc:docChgLst>
  <pc:docChgLst>
    <pc:chgData name="Altynay Arapova" userId="f3af597a-fcff-4574-b6bf-ad432273a486" providerId="ADAL" clId="{F08CA262-08D4-41D9-8791-62FB9E3D495E}"/>
    <pc:docChg chg="undo custSel addSld delSld modSld sldOrd modMainMaster replTag">
      <pc:chgData name="Altynay Arapova" userId="f3af597a-fcff-4574-b6bf-ad432273a486" providerId="ADAL" clId="{F08CA262-08D4-41D9-8791-62FB9E3D495E}" dt="2023-10-17T07:20:01.601" v="1882" actId="20577"/>
      <pc:docMkLst>
        <pc:docMk/>
      </pc:docMkLst>
      <pc:sldChg chg="addSp delSp modSp mod">
        <pc:chgData name="Altynay Arapova" userId="f3af597a-fcff-4574-b6bf-ad432273a486" providerId="ADAL" clId="{F08CA262-08D4-41D9-8791-62FB9E3D495E}" dt="2023-10-17T07:12:18.743" v="1828"/>
        <pc:sldMkLst>
          <pc:docMk/>
          <pc:sldMk cId="1714557018" sldId="256"/>
        </pc:sldMkLst>
        <pc:spChg chg="mod">
          <ac:chgData name="Altynay Arapova" userId="f3af597a-fcff-4574-b6bf-ad432273a486" providerId="ADAL" clId="{F08CA262-08D4-41D9-8791-62FB9E3D495E}" dt="2023-10-17T07:12:18.611" v="1790" actId="948"/>
          <ac:spMkLst>
            <pc:docMk/>
            <pc:sldMk cId="1714557018" sldId="256"/>
            <ac:spMk id="2" creationId="{7606ECCD-D7E4-91F6-1669-78752983AD2F}"/>
          </ac:spMkLst>
        </pc:spChg>
        <pc:spChg chg="mod">
          <ac:chgData name="Altynay Arapova" userId="f3af597a-fcff-4574-b6bf-ad432273a486" providerId="ADAL" clId="{F08CA262-08D4-41D9-8791-62FB9E3D495E}" dt="2023-10-14T03:28:14.708" v="212" actId="404"/>
          <ac:spMkLst>
            <pc:docMk/>
            <pc:sldMk cId="1714557018" sldId="256"/>
            <ac:spMk id="3" creationId="{F9D5B5D1-37C4-3302-5037-C57AF5D1629D}"/>
          </ac:spMkLst>
        </pc:spChg>
        <pc:spChg chg="add del mod modVis">
          <ac:chgData name="Altynay Arapova" userId="f3af597a-fcff-4574-b6bf-ad432273a486" providerId="ADAL" clId="{F08CA262-08D4-41D9-8791-62FB9E3D495E}" dt="2023-10-14T03:28:09.454" v="195"/>
          <ac:spMkLst>
            <pc:docMk/>
            <pc:sldMk cId="1714557018" sldId="256"/>
            <ac:spMk id="7" creationId="{BC2BC166-D6BE-FCF7-2A97-7861760F5D9B}"/>
          </ac:spMkLst>
        </pc:spChg>
        <pc:spChg chg="add del mod modVis">
          <ac:chgData name="Altynay Arapova" userId="f3af597a-fcff-4574-b6bf-ad432273a486" providerId="ADAL" clId="{F08CA262-08D4-41D9-8791-62FB9E3D495E}" dt="2023-10-17T07:12:18.727" v="1826"/>
          <ac:spMkLst>
            <pc:docMk/>
            <pc:sldMk cId="1714557018" sldId="256"/>
            <ac:spMk id="7" creationId="{E418D76D-90B6-E8D9-5483-40EFC41DE13F}"/>
          </ac:spMkLst>
        </pc:spChg>
        <pc:spChg chg="add del mod modVis">
          <ac:chgData name="Altynay Arapova" userId="f3af597a-fcff-4574-b6bf-ad432273a486" providerId="ADAL" clId="{F08CA262-08D4-41D9-8791-62FB9E3D495E}" dt="2023-10-14T03:28:26.430" v="256"/>
          <ac:spMkLst>
            <pc:docMk/>
            <pc:sldMk cId="1714557018" sldId="256"/>
            <ac:spMk id="9" creationId="{359109D2-CD60-909E-2AF6-99A693F56090}"/>
          </ac:spMkLst>
        </pc:spChg>
        <pc:spChg chg="add del mod modVis">
          <ac:chgData name="Altynay Arapova" userId="f3af597a-fcff-4574-b6bf-ad432273a486" providerId="ADAL" clId="{F08CA262-08D4-41D9-8791-62FB9E3D495E}" dt="2023-10-14T03:28:36.327" v="302"/>
          <ac:spMkLst>
            <pc:docMk/>
            <pc:sldMk cId="1714557018" sldId="256"/>
            <ac:spMk id="10" creationId="{3BF5D929-FBA0-FBDC-EB33-4C3A62C39B90}"/>
          </ac:spMkLst>
        </pc:spChg>
        <pc:spChg chg="add del mod modVis">
          <ac:chgData name="Altynay Arapova" userId="f3af597a-fcff-4574-b6bf-ad432273a486" providerId="ADAL" clId="{F08CA262-08D4-41D9-8791-62FB9E3D495E}" dt="2023-10-14T03:28:45.777" v="348"/>
          <ac:spMkLst>
            <pc:docMk/>
            <pc:sldMk cId="1714557018" sldId="256"/>
            <ac:spMk id="11" creationId="{81B82B5B-D320-CE21-AEAA-F5A1CD392469}"/>
          </ac:spMkLst>
        </pc:spChg>
        <pc:spChg chg="add del mod modVis">
          <ac:chgData name="Altynay Arapova" userId="f3af597a-fcff-4574-b6bf-ad432273a486" providerId="ADAL" clId="{F08CA262-08D4-41D9-8791-62FB9E3D495E}" dt="2023-10-14T03:28:48.068" v="397"/>
          <ac:spMkLst>
            <pc:docMk/>
            <pc:sldMk cId="1714557018" sldId="256"/>
            <ac:spMk id="13" creationId="{94E6C48E-EE45-5D21-4D71-4026919FBF97}"/>
          </ac:spMkLst>
        </pc:spChg>
        <pc:spChg chg="add del mod modVis">
          <ac:chgData name="Altynay Arapova" userId="f3af597a-fcff-4574-b6bf-ad432273a486" providerId="ADAL" clId="{F08CA262-08D4-41D9-8791-62FB9E3D495E}" dt="2023-10-14T03:28:53.306" v="448"/>
          <ac:spMkLst>
            <pc:docMk/>
            <pc:sldMk cId="1714557018" sldId="256"/>
            <ac:spMk id="15" creationId="{4BE4FFCA-D7E5-AEBB-9EEC-760881D3A269}"/>
          </ac:spMkLst>
        </pc:spChg>
        <pc:spChg chg="add del mod modVis">
          <ac:chgData name="Altynay Arapova" userId="f3af597a-fcff-4574-b6bf-ad432273a486" providerId="ADAL" clId="{F08CA262-08D4-41D9-8791-62FB9E3D495E}" dt="2023-10-14T03:28:56.164" v="483"/>
          <ac:spMkLst>
            <pc:docMk/>
            <pc:sldMk cId="1714557018" sldId="256"/>
            <ac:spMk id="17" creationId="{6D812AFB-8E2E-7A95-E0B1-F9B7A0B8DC65}"/>
          </ac:spMkLst>
        </pc:spChg>
        <pc:spChg chg="add del mod modVis">
          <ac:chgData name="Altynay Arapova" userId="f3af597a-fcff-4574-b6bf-ad432273a486" providerId="ADAL" clId="{F08CA262-08D4-41D9-8791-62FB9E3D495E}" dt="2023-10-14T03:28:56.880" v="517"/>
          <ac:spMkLst>
            <pc:docMk/>
            <pc:sldMk cId="1714557018" sldId="256"/>
            <ac:spMk id="19" creationId="{049F363B-7EAC-5636-99AF-CEEB107402DB}"/>
          </ac:spMkLst>
        </pc:spChg>
        <pc:spChg chg="add del mod modVis">
          <ac:chgData name="Altynay Arapova" userId="f3af597a-fcff-4574-b6bf-ad432273a486" providerId="ADAL" clId="{F08CA262-08D4-41D9-8791-62FB9E3D495E}" dt="2023-10-14T03:29:03.345" v="557"/>
          <ac:spMkLst>
            <pc:docMk/>
            <pc:sldMk cId="1714557018" sldId="256"/>
            <ac:spMk id="21" creationId="{85B736C7-D274-D8E8-DD63-1D352CAD06B0}"/>
          </ac:spMkLst>
        </pc:spChg>
        <pc:spChg chg="add del mod modVis">
          <ac:chgData name="Altynay Arapova" userId="f3af597a-fcff-4574-b6bf-ad432273a486" providerId="ADAL" clId="{F08CA262-08D4-41D9-8791-62FB9E3D495E}" dt="2023-10-14T03:29:03.998" v="597"/>
          <ac:spMkLst>
            <pc:docMk/>
            <pc:sldMk cId="1714557018" sldId="256"/>
            <ac:spMk id="23" creationId="{55362DDD-716F-2DC1-384E-DD22338D0299}"/>
          </ac:spMkLst>
        </pc:spChg>
        <pc:spChg chg="add del mod modVis">
          <ac:chgData name="Altynay Arapova" userId="f3af597a-fcff-4574-b6bf-ad432273a486" providerId="ADAL" clId="{F08CA262-08D4-41D9-8791-62FB9E3D495E}" dt="2023-10-14T03:29:05.069" v="637"/>
          <ac:spMkLst>
            <pc:docMk/>
            <pc:sldMk cId="1714557018" sldId="256"/>
            <ac:spMk id="24" creationId="{9DBC2E8A-6715-4FFC-29E5-A87DE1B084BB}"/>
          </ac:spMkLst>
        </pc:spChg>
        <pc:spChg chg="add del mod modVis">
          <ac:chgData name="Altynay Arapova" userId="f3af597a-fcff-4574-b6bf-ad432273a486" providerId="ADAL" clId="{F08CA262-08D4-41D9-8791-62FB9E3D495E}" dt="2023-10-14T03:29:10.706" v="687"/>
          <ac:spMkLst>
            <pc:docMk/>
            <pc:sldMk cId="1714557018" sldId="256"/>
            <ac:spMk id="25" creationId="{A8024A84-0E9D-5068-C152-AA58E5CB5705}"/>
          </ac:spMkLst>
        </pc:spChg>
        <pc:spChg chg="add del mod modVis">
          <ac:chgData name="Altynay Arapova" userId="f3af597a-fcff-4574-b6bf-ad432273a486" providerId="ADAL" clId="{F08CA262-08D4-41D9-8791-62FB9E3D495E}" dt="2023-10-14T03:29:16.308" v="733"/>
          <ac:spMkLst>
            <pc:docMk/>
            <pc:sldMk cId="1714557018" sldId="256"/>
            <ac:spMk id="26" creationId="{598ACDEE-F5A3-257B-74C7-8F248ECE5987}"/>
          </ac:spMkLst>
        </pc:spChg>
        <pc:spChg chg="add del mod modVis">
          <ac:chgData name="Altynay Arapova" userId="f3af597a-fcff-4574-b6bf-ad432273a486" providerId="ADAL" clId="{F08CA262-08D4-41D9-8791-62FB9E3D495E}" dt="2023-10-14T04:08:02.268" v="1604"/>
          <ac:spMkLst>
            <pc:docMk/>
            <pc:sldMk cId="1714557018" sldId="256"/>
            <ac:spMk id="27" creationId="{CE21AE3C-F253-59AA-DC1A-16B9E6DC0DFB}"/>
          </ac:spMkLst>
        </pc:spChg>
        <pc:spChg chg="add del mod modVis">
          <ac:chgData name="Altynay Arapova" userId="f3af597a-fcff-4574-b6bf-ad432273a486" providerId="ADAL" clId="{F08CA262-08D4-41D9-8791-62FB9E3D495E}" dt="2023-10-14T04:08:06.800" v="1650"/>
          <ac:spMkLst>
            <pc:docMk/>
            <pc:sldMk cId="1714557018" sldId="256"/>
            <ac:spMk id="28" creationId="{6D7FAAB5-0B5F-F859-D2F8-C4E66FAA5637}"/>
          </ac:spMkLst>
        </pc:spChg>
        <pc:spChg chg="add del mod modVis">
          <ac:chgData name="Altynay Arapova" userId="f3af597a-fcff-4574-b6bf-ad432273a486" providerId="ADAL" clId="{F08CA262-08D4-41D9-8791-62FB9E3D495E}" dt="2023-10-14T04:08:12.590" v="1696"/>
          <ac:spMkLst>
            <pc:docMk/>
            <pc:sldMk cId="1714557018" sldId="256"/>
            <ac:spMk id="29" creationId="{4093549D-6A84-1647-6120-8CF6F5E3F47D}"/>
          </ac:spMkLst>
        </pc:spChg>
        <pc:graphicFrameChg chg="add mod ord modVis replST">
          <ac:chgData name="Altynay Arapova" userId="f3af597a-fcff-4574-b6bf-ad432273a486" providerId="ADAL" clId="{F08CA262-08D4-41D9-8791-62FB9E3D495E}" dt="2023-10-17T07:12:18.743" v="1828"/>
          <ac:graphicFrameMkLst>
            <pc:docMk/>
            <pc:sldMk cId="1714557018" sldId="256"/>
            <ac:graphicFrameMk id="8" creationId="{8F31EE38-A458-C44D-4324-77A3D9704192}"/>
          </ac:graphicFrameMkLst>
        </pc:graphicFrameChg>
      </pc:sldChg>
      <pc:sldChg chg="del">
        <pc:chgData name="Altynay Arapova" userId="f3af597a-fcff-4574-b6bf-ad432273a486" providerId="ADAL" clId="{F08CA262-08D4-41D9-8791-62FB9E3D495E}" dt="2023-10-14T03:40:10.927" v="863" actId="47"/>
        <pc:sldMkLst>
          <pc:docMk/>
          <pc:sldMk cId="314205312" sldId="287"/>
        </pc:sldMkLst>
      </pc:sldChg>
      <pc:sldChg chg="addSp modSp del mod">
        <pc:chgData name="Altynay Arapova" userId="f3af597a-fcff-4574-b6bf-ad432273a486" providerId="ADAL" clId="{F08CA262-08D4-41D9-8791-62FB9E3D495E}" dt="2023-10-14T03:27:23.326" v="126" actId="47"/>
        <pc:sldMkLst>
          <pc:docMk/>
          <pc:sldMk cId="216447152" sldId="288"/>
        </pc:sldMkLst>
        <pc:spChg chg="mod">
          <ac:chgData name="Altynay Arapova" userId="f3af597a-fcff-4574-b6bf-ad432273a486" providerId="ADAL" clId="{F08CA262-08D4-41D9-8791-62FB9E3D495E}" dt="2023-10-14T03:18:12.565" v="55" actId="948"/>
          <ac:spMkLst>
            <pc:docMk/>
            <pc:sldMk cId="216447152" sldId="288"/>
            <ac:spMk id="8" creationId="{0108755E-FD16-B9AD-61BA-7F47EDC7D4C1}"/>
          </ac:spMkLst>
        </pc:spChg>
        <pc:graphicFrameChg chg="add mod ord modVis replST">
          <ac:chgData name="Altynay Arapova" userId="f3af597a-fcff-4574-b6bf-ad432273a486" providerId="ADAL" clId="{F08CA262-08D4-41D9-8791-62FB9E3D495E}" dt="2023-10-14T03:18:12.580" v="59"/>
          <ac:graphicFrameMkLst>
            <pc:docMk/>
            <pc:sldMk cId="216447152" sldId="288"/>
            <ac:graphicFrameMk id="3" creationId="{F2880FE6-90A6-308F-1449-68B9C86A3F9F}"/>
          </ac:graphicFrameMkLst>
        </pc:graphicFrameChg>
      </pc:sldChg>
      <pc:sldChg chg="del">
        <pc:chgData name="Altynay Arapova" userId="f3af597a-fcff-4574-b6bf-ad432273a486" providerId="ADAL" clId="{F08CA262-08D4-41D9-8791-62FB9E3D495E}" dt="2023-10-14T03:52:22.051" v="1119" actId="47"/>
        <pc:sldMkLst>
          <pc:docMk/>
          <pc:sldMk cId="2926179191" sldId="289"/>
        </pc:sldMkLst>
      </pc:sldChg>
      <pc:sldChg chg="addSp delSp modSp del mod">
        <pc:chgData name="Altynay Arapova" userId="f3af597a-fcff-4574-b6bf-ad432273a486" providerId="ADAL" clId="{F08CA262-08D4-41D9-8791-62FB9E3D495E}" dt="2023-10-14T04:02:28.980" v="1506" actId="47"/>
        <pc:sldMkLst>
          <pc:docMk/>
          <pc:sldMk cId="508852249" sldId="290"/>
        </pc:sldMkLst>
        <pc:spChg chg="mod">
          <ac:chgData name="Altynay Arapova" userId="f3af597a-fcff-4574-b6bf-ad432273a486" providerId="ADAL" clId="{F08CA262-08D4-41D9-8791-62FB9E3D495E}" dt="2023-10-14T03:24:53.628" v="60" actId="948"/>
          <ac:spMkLst>
            <pc:docMk/>
            <pc:sldMk cId="508852249" sldId="290"/>
            <ac:spMk id="2" creationId="{A4D62CCC-5F56-CCAC-2267-14B91B08C2D3}"/>
          </ac:spMkLst>
        </pc:spChg>
        <pc:spChg chg="add del mod modVis">
          <ac:chgData name="Altynay Arapova" userId="f3af597a-fcff-4574-b6bf-ad432273a486" providerId="ADAL" clId="{F08CA262-08D4-41D9-8791-62FB9E3D495E}" dt="2023-10-14T03:24:53.690" v="83"/>
          <ac:spMkLst>
            <pc:docMk/>
            <pc:sldMk cId="508852249" sldId="290"/>
            <ac:spMk id="6" creationId="{E8B32706-6E8D-5F38-91BD-0F06CF5B0221}"/>
          </ac:spMkLst>
        </pc:spChg>
        <pc:spChg chg="add del mod">
          <ac:chgData name="Altynay Arapova" userId="f3af597a-fcff-4574-b6bf-ad432273a486" providerId="ADAL" clId="{F08CA262-08D4-41D9-8791-62FB9E3D495E}" dt="2023-10-14T04:01:12.978" v="1460" actId="21"/>
          <ac:spMkLst>
            <pc:docMk/>
            <pc:sldMk cId="508852249" sldId="290"/>
            <ac:spMk id="13" creationId="{9123836E-EE22-1C60-841D-3069120FF6B3}"/>
          </ac:spMkLst>
        </pc:spChg>
        <pc:graphicFrameChg chg="add mod ord modVis replST">
          <ac:chgData name="Altynay Arapova" userId="f3af597a-fcff-4574-b6bf-ad432273a486" providerId="ADAL" clId="{F08CA262-08D4-41D9-8791-62FB9E3D495E}" dt="2023-10-14T03:24:53.761" v="98"/>
          <ac:graphicFrameMkLst>
            <pc:docMk/>
            <pc:sldMk cId="508852249" sldId="290"/>
            <ac:graphicFrameMk id="10" creationId="{BD885838-C520-FEE7-FA16-EE8360BA7931}"/>
          </ac:graphicFrameMkLst>
        </pc:graphicFrameChg>
      </pc:sldChg>
      <pc:sldChg chg="del">
        <pc:chgData name="Altynay Arapova" userId="f3af597a-fcff-4574-b6bf-ad432273a486" providerId="ADAL" clId="{F08CA262-08D4-41D9-8791-62FB9E3D495E}" dt="2023-10-14T03:57:16.581" v="1186" actId="47"/>
        <pc:sldMkLst>
          <pc:docMk/>
          <pc:sldMk cId="3774796691" sldId="291"/>
        </pc:sldMkLst>
      </pc:sldChg>
      <pc:sldChg chg="del">
        <pc:chgData name="Altynay Arapova" userId="f3af597a-fcff-4574-b6bf-ad432273a486" providerId="ADAL" clId="{F08CA262-08D4-41D9-8791-62FB9E3D495E}" dt="2023-10-14T04:10:10.996" v="1742" actId="47"/>
        <pc:sldMkLst>
          <pc:docMk/>
          <pc:sldMk cId="3698261617" sldId="292"/>
        </pc:sldMkLst>
      </pc:sldChg>
      <pc:sldChg chg="addSp delSp modSp add del mod">
        <pc:chgData name="Altynay Arapova" userId="f3af597a-fcff-4574-b6bf-ad432273a486" providerId="ADAL" clId="{F08CA262-08D4-41D9-8791-62FB9E3D495E}" dt="2023-10-14T03:27:11.246" v="125" actId="47"/>
        <pc:sldMkLst>
          <pc:docMk/>
          <pc:sldMk cId="4014912427" sldId="293"/>
        </pc:sldMkLst>
        <pc:spChg chg="add del mod">
          <ac:chgData name="Altynay Arapova" userId="f3af597a-fcff-4574-b6bf-ad432273a486" providerId="ADAL" clId="{F08CA262-08D4-41D9-8791-62FB9E3D495E}" dt="2023-10-14T03:25:06.613" v="102" actId="478"/>
          <ac:spMkLst>
            <pc:docMk/>
            <pc:sldMk cId="4014912427" sldId="293"/>
            <ac:spMk id="7" creationId="{1E478BC1-E292-18E3-4EC2-E8BCF81A500A}"/>
          </ac:spMkLst>
        </pc:spChg>
        <pc:spChg chg="add del mod">
          <ac:chgData name="Altynay Arapova" userId="f3af597a-fcff-4574-b6bf-ad432273a486" providerId="ADAL" clId="{F08CA262-08D4-41D9-8791-62FB9E3D495E}" dt="2023-10-14T03:25:29.937" v="105" actId="21"/>
          <ac:spMkLst>
            <pc:docMk/>
            <pc:sldMk cId="4014912427" sldId="293"/>
            <ac:spMk id="9" creationId="{08E31060-4004-D8C7-0ED4-3380E38D875C}"/>
          </ac:spMkLst>
        </pc:spChg>
        <pc:spChg chg="add del mod">
          <ac:chgData name="Altynay Arapova" userId="f3af597a-fcff-4574-b6bf-ad432273a486" providerId="ADAL" clId="{F08CA262-08D4-41D9-8791-62FB9E3D495E}" dt="2023-10-14T03:25:29.937" v="105" actId="21"/>
          <ac:spMkLst>
            <pc:docMk/>
            <pc:sldMk cId="4014912427" sldId="293"/>
            <ac:spMk id="10" creationId="{71DA02A9-AB12-7D80-672E-4B05B04F86F0}"/>
          </ac:spMkLst>
        </pc:spChg>
        <pc:spChg chg="add del mod">
          <ac:chgData name="Altynay Arapova" userId="f3af597a-fcff-4574-b6bf-ad432273a486" providerId="ADAL" clId="{F08CA262-08D4-41D9-8791-62FB9E3D495E}" dt="2023-10-14T03:25:29.937" v="105" actId="21"/>
          <ac:spMkLst>
            <pc:docMk/>
            <pc:sldMk cId="4014912427" sldId="293"/>
            <ac:spMk id="11" creationId="{8B8A5CC3-DD25-7DE6-E63F-BE68570F5121}"/>
          </ac:spMkLst>
        </pc:spChg>
        <pc:spChg chg="add del mod">
          <ac:chgData name="Altynay Arapova" userId="f3af597a-fcff-4574-b6bf-ad432273a486" providerId="ADAL" clId="{F08CA262-08D4-41D9-8791-62FB9E3D495E}" dt="2023-10-14T03:25:29.937" v="105" actId="21"/>
          <ac:spMkLst>
            <pc:docMk/>
            <pc:sldMk cId="4014912427" sldId="293"/>
            <ac:spMk id="12" creationId="{FAAC8804-3829-A8E0-7D4D-4090EE7FEE42}"/>
          </ac:spMkLst>
        </pc:spChg>
        <pc:spChg chg="add del mod">
          <ac:chgData name="Altynay Arapova" userId="f3af597a-fcff-4574-b6bf-ad432273a486" providerId="ADAL" clId="{F08CA262-08D4-41D9-8791-62FB9E3D495E}" dt="2023-10-14T03:25:29.937" v="105" actId="21"/>
          <ac:spMkLst>
            <pc:docMk/>
            <pc:sldMk cId="4014912427" sldId="293"/>
            <ac:spMk id="13" creationId="{F37E3B31-69A2-25F7-3ADE-B08C46294FA2}"/>
          </ac:spMkLst>
        </pc:spChg>
        <pc:spChg chg="add del mod">
          <ac:chgData name="Altynay Arapova" userId="f3af597a-fcff-4574-b6bf-ad432273a486" providerId="ADAL" clId="{F08CA262-08D4-41D9-8791-62FB9E3D495E}" dt="2023-10-14T03:25:29.937" v="105" actId="21"/>
          <ac:spMkLst>
            <pc:docMk/>
            <pc:sldMk cId="4014912427" sldId="293"/>
            <ac:spMk id="14" creationId="{6E333EB1-CB74-C7FB-B088-4FC109BD9D7A}"/>
          </ac:spMkLst>
        </pc:spChg>
        <pc:spChg chg="add del mod">
          <ac:chgData name="Altynay Arapova" userId="f3af597a-fcff-4574-b6bf-ad432273a486" providerId="ADAL" clId="{F08CA262-08D4-41D9-8791-62FB9E3D495E}" dt="2023-10-14T03:25:29.937" v="105" actId="21"/>
          <ac:spMkLst>
            <pc:docMk/>
            <pc:sldMk cId="4014912427" sldId="293"/>
            <ac:spMk id="15" creationId="{79CB0001-DBD1-F32D-50A5-0D3265A451D5}"/>
          </ac:spMkLst>
        </pc:spChg>
        <pc:spChg chg="add del mod">
          <ac:chgData name="Altynay Arapova" userId="f3af597a-fcff-4574-b6bf-ad432273a486" providerId="ADAL" clId="{F08CA262-08D4-41D9-8791-62FB9E3D495E}" dt="2023-10-14T03:25:29.937" v="105" actId="21"/>
          <ac:spMkLst>
            <pc:docMk/>
            <pc:sldMk cId="4014912427" sldId="293"/>
            <ac:spMk id="16" creationId="{86A54394-68E3-2765-0796-AABC8E7BEBD2}"/>
          </ac:spMkLst>
        </pc:spChg>
        <pc:spChg chg="add del mod">
          <ac:chgData name="Altynay Arapova" userId="f3af597a-fcff-4574-b6bf-ad432273a486" providerId="ADAL" clId="{F08CA262-08D4-41D9-8791-62FB9E3D495E}" dt="2023-10-14T03:25:29.937" v="105" actId="21"/>
          <ac:spMkLst>
            <pc:docMk/>
            <pc:sldMk cId="4014912427" sldId="293"/>
            <ac:spMk id="17" creationId="{2EBF8964-D0C5-6960-3B9A-6DD2848AE627}"/>
          </ac:spMkLst>
        </pc:spChg>
        <pc:spChg chg="add del mod">
          <ac:chgData name="Altynay Arapova" userId="f3af597a-fcff-4574-b6bf-ad432273a486" providerId="ADAL" clId="{F08CA262-08D4-41D9-8791-62FB9E3D495E}" dt="2023-10-14T03:25:29.937" v="105" actId="21"/>
          <ac:spMkLst>
            <pc:docMk/>
            <pc:sldMk cId="4014912427" sldId="293"/>
            <ac:spMk id="18" creationId="{5D3630E2-5DF5-8B5F-F16D-48F3A5D7ADE8}"/>
          </ac:spMkLst>
        </pc:spChg>
        <pc:spChg chg="add del mod">
          <ac:chgData name="Altynay Arapova" userId="f3af597a-fcff-4574-b6bf-ad432273a486" providerId="ADAL" clId="{F08CA262-08D4-41D9-8791-62FB9E3D495E}" dt="2023-10-14T03:25:29.937" v="105" actId="21"/>
          <ac:spMkLst>
            <pc:docMk/>
            <pc:sldMk cId="4014912427" sldId="293"/>
            <ac:spMk id="19" creationId="{CE32852B-6E74-2AD1-DACB-7FDEE1AC3C76}"/>
          </ac:spMkLst>
        </pc:spChg>
        <pc:spChg chg="add del mod">
          <ac:chgData name="Altynay Arapova" userId="f3af597a-fcff-4574-b6bf-ad432273a486" providerId="ADAL" clId="{F08CA262-08D4-41D9-8791-62FB9E3D495E}" dt="2023-10-14T03:25:29.937" v="105" actId="21"/>
          <ac:spMkLst>
            <pc:docMk/>
            <pc:sldMk cId="4014912427" sldId="293"/>
            <ac:spMk id="20" creationId="{7B5B89F5-E827-D604-1DAA-881811E7CEA0}"/>
          </ac:spMkLst>
        </pc:spChg>
        <pc:graphicFrameChg chg="del">
          <ac:chgData name="Altynay Arapova" userId="f3af597a-fcff-4574-b6bf-ad432273a486" providerId="ADAL" clId="{F08CA262-08D4-41D9-8791-62FB9E3D495E}" dt="2023-10-14T03:25:04.520" v="101" actId="478"/>
          <ac:graphicFrameMkLst>
            <pc:docMk/>
            <pc:sldMk cId="4014912427" sldId="293"/>
            <ac:graphicFrameMk id="6" creationId="{52A1C188-50B9-2822-D834-CCE9DCAF4015}"/>
          </ac:graphicFrameMkLst>
        </pc:graphicFrameChg>
        <pc:picChg chg="add del mod">
          <ac:chgData name="Altynay Arapova" userId="f3af597a-fcff-4574-b6bf-ad432273a486" providerId="ADAL" clId="{F08CA262-08D4-41D9-8791-62FB9E3D495E}" dt="2023-10-14T03:25:29.937" v="105" actId="21"/>
          <ac:picMkLst>
            <pc:docMk/>
            <pc:sldMk cId="4014912427" sldId="293"/>
            <ac:picMk id="21" creationId="{1ADB8E05-EBF6-C9EF-729C-F22F7A1D8327}"/>
          </ac:picMkLst>
        </pc:picChg>
        <pc:picChg chg="add del mod">
          <ac:chgData name="Altynay Arapova" userId="f3af597a-fcff-4574-b6bf-ad432273a486" providerId="ADAL" clId="{F08CA262-08D4-41D9-8791-62FB9E3D495E}" dt="2023-10-14T03:25:29.937" v="105" actId="21"/>
          <ac:picMkLst>
            <pc:docMk/>
            <pc:sldMk cId="4014912427" sldId="293"/>
            <ac:picMk id="22" creationId="{865CD781-CE61-04B5-03DA-1D634520A2AD}"/>
          </ac:picMkLst>
        </pc:picChg>
        <pc:picChg chg="add del mod">
          <ac:chgData name="Altynay Arapova" userId="f3af597a-fcff-4574-b6bf-ad432273a486" providerId="ADAL" clId="{F08CA262-08D4-41D9-8791-62FB9E3D495E}" dt="2023-10-14T03:25:29.937" v="105" actId="21"/>
          <ac:picMkLst>
            <pc:docMk/>
            <pc:sldMk cId="4014912427" sldId="293"/>
            <ac:picMk id="23" creationId="{A3CC5D57-5D66-0F3F-63E8-F9EC05DB9B53}"/>
          </ac:picMkLst>
        </pc:picChg>
        <pc:picChg chg="add del mod">
          <ac:chgData name="Altynay Arapova" userId="f3af597a-fcff-4574-b6bf-ad432273a486" providerId="ADAL" clId="{F08CA262-08D4-41D9-8791-62FB9E3D495E}" dt="2023-10-14T03:25:29.937" v="105" actId="21"/>
          <ac:picMkLst>
            <pc:docMk/>
            <pc:sldMk cId="4014912427" sldId="293"/>
            <ac:picMk id="24" creationId="{73B5965E-ED99-6D36-4890-FD2102363102}"/>
          </ac:picMkLst>
        </pc:picChg>
        <pc:picChg chg="add del mod">
          <ac:chgData name="Altynay Arapova" userId="f3af597a-fcff-4574-b6bf-ad432273a486" providerId="ADAL" clId="{F08CA262-08D4-41D9-8791-62FB9E3D495E}" dt="2023-10-14T03:25:29.937" v="105" actId="21"/>
          <ac:picMkLst>
            <pc:docMk/>
            <pc:sldMk cId="4014912427" sldId="293"/>
            <ac:picMk id="25" creationId="{BE9F0FEB-59BC-FB3E-AAD6-8F717B1A264E}"/>
          </ac:picMkLst>
        </pc:picChg>
        <pc:picChg chg="add del mod">
          <ac:chgData name="Altynay Arapova" userId="f3af597a-fcff-4574-b6bf-ad432273a486" providerId="ADAL" clId="{F08CA262-08D4-41D9-8791-62FB9E3D495E}" dt="2023-10-14T03:25:29.937" v="105" actId="21"/>
          <ac:picMkLst>
            <pc:docMk/>
            <pc:sldMk cId="4014912427" sldId="293"/>
            <ac:picMk id="26" creationId="{D22951C4-DD94-9344-0B7F-06566649F7BB}"/>
          </ac:picMkLst>
        </pc:picChg>
      </pc:sldChg>
      <pc:sldChg chg="addSp delSp modSp add mod ord">
        <pc:chgData name="Altynay Arapova" userId="f3af597a-fcff-4574-b6bf-ad432273a486" providerId="ADAL" clId="{F08CA262-08D4-41D9-8791-62FB9E3D495E}" dt="2023-10-14T03:41:55.706" v="894" actId="1076"/>
        <pc:sldMkLst>
          <pc:docMk/>
          <pc:sldMk cId="4003325401" sldId="294"/>
        </pc:sldMkLst>
        <pc:spChg chg="del">
          <ac:chgData name="Altynay Arapova" userId="f3af597a-fcff-4574-b6bf-ad432273a486" providerId="ADAL" clId="{F08CA262-08D4-41D9-8791-62FB9E3D495E}" dt="2023-10-14T03:26:37.612" v="112" actId="478"/>
          <ac:spMkLst>
            <pc:docMk/>
            <pc:sldMk cId="4003325401" sldId="294"/>
            <ac:spMk id="2" creationId="{A4D62CCC-5F56-CCAC-2267-14B91B08C2D3}"/>
          </ac:spMkLst>
        </pc:spChg>
        <pc:spChg chg="del">
          <ac:chgData name="Altynay Arapova" userId="f3af597a-fcff-4574-b6bf-ad432273a486" providerId="ADAL" clId="{F08CA262-08D4-41D9-8791-62FB9E3D495E}" dt="2023-10-14T03:26:36.363" v="111" actId="478"/>
          <ac:spMkLst>
            <pc:docMk/>
            <pc:sldMk cId="4003325401" sldId="294"/>
            <ac:spMk id="3" creationId="{AA263F85-93A2-ADFB-E999-3B61FFDFBFF5}"/>
          </ac:spMkLst>
        </pc:spChg>
        <pc:spChg chg="mod ord">
          <ac:chgData name="Altynay Arapova" userId="f3af597a-fcff-4574-b6bf-ad432273a486" providerId="ADAL" clId="{F08CA262-08D4-41D9-8791-62FB9E3D495E}" dt="2023-10-14T03:33:03.727" v="823"/>
          <ac:spMkLst>
            <pc:docMk/>
            <pc:sldMk cId="4003325401" sldId="294"/>
            <ac:spMk id="5" creationId="{94FC683E-E650-BF3F-3AE0-6E4BAA06FD80}"/>
          </ac:spMkLst>
        </pc:spChg>
        <pc:spChg chg="mod ord">
          <ac:chgData name="Altynay Arapova" userId="f3af597a-fcff-4574-b6bf-ad432273a486" providerId="ADAL" clId="{F08CA262-08D4-41D9-8791-62FB9E3D495E}" dt="2023-10-14T03:33:03.727" v="823"/>
          <ac:spMkLst>
            <pc:docMk/>
            <pc:sldMk cId="4003325401" sldId="294"/>
            <ac:spMk id="8" creationId="{F0C2EC01-E477-2037-2906-8D2B94575EF5}"/>
          </ac:spMkLst>
        </pc:spChg>
        <pc:spChg chg="mod ord">
          <ac:chgData name="Altynay Arapova" userId="f3af597a-fcff-4574-b6bf-ad432273a486" providerId="ADAL" clId="{F08CA262-08D4-41D9-8791-62FB9E3D495E}" dt="2023-10-14T03:33:03.727" v="823"/>
          <ac:spMkLst>
            <pc:docMk/>
            <pc:sldMk cId="4003325401" sldId="294"/>
            <ac:spMk id="9" creationId="{777A147A-9ED8-46B4-8660-1B3C2AA880B5}"/>
          </ac:spMkLst>
        </pc:spChg>
        <pc:spChg chg="mod ord">
          <ac:chgData name="Altynay Arapova" userId="f3af597a-fcff-4574-b6bf-ad432273a486" providerId="ADAL" clId="{F08CA262-08D4-41D9-8791-62FB9E3D495E}" dt="2023-10-14T03:33:03.727" v="823"/>
          <ac:spMkLst>
            <pc:docMk/>
            <pc:sldMk cId="4003325401" sldId="294"/>
            <ac:spMk id="11" creationId="{5D6C15A0-C087-4593-8414-2B4EC1CDC3DE}"/>
          </ac:spMkLst>
        </pc:spChg>
        <pc:spChg chg="add del mod">
          <ac:chgData name="Altynay Arapova" userId="f3af597a-fcff-4574-b6bf-ad432273a486" providerId="ADAL" clId="{F08CA262-08D4-41D9-8791-62FB9E3D495E}" dt="2023-10-14T03:26:39.657" v="117" actId="478"/>
          <ac:spMkLst>
            <pc:docMk/>
            <pc:sldMk cId="4003325401" sldId="294"/>
            <ac:spMk id="12" creationId="{76F02519-4F49-5B47-2D65-90C1E2823F1B}"/>
          </ac:spMkLst>
        </pc:spChg>
        <pc:spChg chg="add del mod">
          <ac:chgData name="Altynay Arapova" userId="f3af597a-fcff-4574-b6bf-ad432273a486" providerId="ADAL" clId="{F08CA262-08D4-41D9-8791-62FB9E3D495E}" dt="2023-10-14T03:26:54.392" v="119" actId="478"/>
          <ac:spMkLst>
            <pc:docMk/>
            <pc:sldMk cId="4003325401" sldId="294"/>
            <ac:spMk id="14" creationId="{057B3C85-76ED-1ADB-804B-DF8B62D192EB}"/>
          </ac:spMkLst>
        </pc:spChg>
        <pc:spChg chg="add mod ord">
          <ac:chgData name="Altynay Arapova" userId="f3af597a-fcff-4574-b6bf-ad432273a486" providerId="ADAL" clId="{F08CA262-08D4-41D9-8791-62FB9E3D495E}" dt="2023-10-14T03:33:03.727" v="823"/>
          <ac:spMkLst>
            <pc:docMk/>
            <pc:sldMk cId="4003325401" sldId="294"/>
            <ac:spMk id="15" creationId="{4B908C59-18D8-DD00-C2E1-391034504558}"/>
          </ac:spMkLst>
        </pc:spChg>
        <pc:spChg chg="add mod ord">
          <ac:chgData name="Altynay Arapova" userId="f3af597a-fcff-4574-b6bf-ad432273a486" providerId="ADAL" clId="{F08CA262-08D4-41D9-8791-62FB9E3D495E}" dt="2023-10-14T03:33:03.727" v="823"/>
          <ac:spMkLst>
            <pc:docMk/>
            <pc:sldMk cId="4003325401" sldId="294"/>
            <ac:spMk id="16" creationId="{D0DA770B-5EBA-6C55-D7C0-0D74460A7ADD}"/>
          </ac:spMkLst>
        </pc:spChg>
        <pc:spChg chg="add mod ord">
          <ac:chgData name="Altynay Arapova" userId="f3af597a-fcff-4574-b6bf-ad432273a486" providerId="ADAL" clId="{F08CA262-08D4-41D9-8791-62FB9E3D495E}" dt="2023-10-14T03:33:03.727" v="823"/>
          <ac:spMkLst>
            <pc:docMk/>
            <pc:sldMk cId="4003325401" sldId="294"/>
            <ac:spMk id="17" creationId="{6EA0D0BD-C28B-B2FF-A27C-80D668EABB76}"/>
          </ac:spMkLst>
        </pc:spChg>
        <pc:spChg chg="add mod ord">
          <ac:chgData name="Altynay Arapova" userId="f3af597a-fcff-4574-b6bf-ad432273a486" providerId="ADAL" clId="{F08CA262-08D4-41D9-8791-62FB9E3D495E}" dt="2023-10-14T03:41:01.496" v="881" actId="207"/>
          <ac:spMkLst>
            <pc:docMk/>
            <pc:sldMk cId="4003325401" sldId="294"/>
            <ac:spMk id="18" creationId="{AB770AE1-315D-4AD6-DBA6-28F7D0E0CC4E}"/>
          </ac:spMkLst>
        </pc:spChg>
        <pc:spChg chg="add mod ord">
          <ac:chgData name="Altynay Arapova" userId="f3af597a-fcff-4574-b6bf-ad432273a486" providerId="ADAL" clId="{F08CA262-08D4-41D9-8791-62FB9E3D495E}" dt="2023-10-14T03:41:08.639" v="883" actId="207"/>
          <ac:spMkLst>
            <pc:docMk/>
            <pc:sldMk cId="4003325401" sldId="294"/>
            <ac:spMk id="19" creationId="{CDDDC067-2A0F-38A4-9D29-9E878204CE0F}"/>
          </ac:spMkLst>
        </pc:spChg>
        <pc:spChg chg="add mod ord">
          <ac:chgData name="Altynay Arapova" userId="f3af597a-fcff-4574-b6bf-ad432273a486" providerId="ADAL" clId="{F08CA262-08D4-41D9-8791-62FB9E3D495E}" dt="2023-10-14T03:41:51.217" v="893" actId="207"/>
          <ac:spMkLst>
            <pc:docMk/>
            <pc:sldMk cId="4003325401" sldId="294"/>
            <ac:spMk id="20" creationId="{86E34D12-425B-19D1-2CA9-4B97BAE717AF}"/>
          </ac:spMkLst>
        </pc:spChg>
        <pc:spChg chg="add mod ord">
          <ac:chgData name="Altynay Arapova" userId="f3af597a-fcff-4574-b6bf-ad432273a486" providerId="ADAL" clId="{F08CA262-08D4-41D9-8791-62FB9E3D495E}" dt="2023-10-14T03:41:19.318" v="885" actId="207"/>
          <ac:spMkLst>
            <pc:docMk/>
            <pc:sldMk cId="4003325401" sldId="294"/>
            <ac:spMk id="21" creationId="{EBA57632-8337-D681-3E92-D3071477A0AA}"/>
          </ac:spMkLst>
        </pc:spChg>
        <pc:spChg chg="add mod ord">
          <ac:chgData name="Altynay Arapova" userId="f3af597a-fcff-4574-b6bf-ad432273a486" providerId="ADAL" clId="{F08CA262-08D4-41D9-8791-62FB9E3D495E}" dt="2023-10-14T03:41:55.706" v="894" actId="1076"/>
          <ac:spMkLst>
            <pc:docMk/>
            <pc:sldMk cId="4003325401" sldId="294"/>
            <ac:spMk id="22" creationId="{3FF06562-E9DB-46E3-9B03-E7FD10A6516C}"/>
          </ac:spMkLst>
        </pc:spChg>
        <pc:spChg chg="add mod ord">
          <ac:chgData name="Altynay Arapova" userId="f3af597a-fcff-4574-b6bf-ad432273a486" providerId="ADAL" clId="{F08CA262-08D4-41D9-8791-62FB9E3D495E}" dt="2023-10-14T03:33:03.727" v="823"/>
          <ac:spMkLst>
            <pc:docMk/>
            <pc:sldMk cId="4003325401" sldId="294"/>
            <ac:spMk id="23" creationId="{056AD995-9495-C644-A6B9-B1DC688477C9}"/>
          </ac:spMkLst>
        </pc:spChg>
        <pc:spChg chg="add mod ord">
          <ac:chgData name="Altynay Arapova" userId="f3af597a-fcff-4574-b6bf-ad432273a486" providerId="ADAL" clId="{F08CA262-08D4-41D9-8791-62FB9E3D495E}" dt="2023-10-14T03:33:03.727" v="823"/>
          <ac:spMkLst>
            <pc:docMk/>
            <pc:sldMk cId="4003325401" sldId="294"/>
            <ac:spMk id="24" creationId="{E11D4689-F401-6878-22E3-4B6668832794}"/>
          </ac:spMkLst>
        </pc:spChg>
        <pc:spChg chg="add mod ord">
          <ac:chgData name="Altynay Arapova" userId="f3af597a-fcff-4574-b6bf-ad432273a486" providerId="ADAL" clId="{F08CA262-08D4-41D9-8791-62FB9E3D495E}" dt="2023-10-14T03:41:28.535" v="886" actId="207"/>
          <ac:spMkLst>
            <pc:docMk/>
            <pc:sldMk cId="4003325401" sldId="294"/>
            <ac:spMk id="25" creationId="{9331BCD6-4A16-2715-389E-1DCBB8E93B26}"/>
          </ac:spMkLst>
        </pc:spChg>
        <pc:spChg chg="add mod ord">
          <ac:chgData name="Altynay Arapova" userId="f3af597a-fcff-4574-b6bf-ad432273a486" providerId="ADAL" clId="{F08CA262-08D4-41D9-8791-62FB9E3D495E}" dt="2023-10-14T03:41:41.276" v="890" actId="207"/>
          <ac:spMkLst>
            <pc:docMk/>
            <pc:sldMk cId="4003325401" sldId="294"/>
            <ac:spMk id="26" creationId="{89C35CE4-3829-8211-EE7E-B76E5EFD14F0}"/>
          </ac:spMkLst>
        </pc:spChg>
        <pc:spChg chg="add mod ord">
          <ac:chgData name="Altynay Arapova" userId="f3af597a-fcff-4574-b6bf-ad432273a486" providerId="ADAL" clId="{F08CA262-08D4-41D9-8791-62FB9E3D495E}" dt="2023-10-14T03:33:03.727" v="823"/>
          <ac:spMkLst>
            <pc:docMk/>
            <pc:sldMk cId="4003325401" sldId="294"/>
            <ac:spMk id="33" creationId="{2692C62E-9B39-63B8-1132-428D3F3F10DE}"/>
          </ac:spMkLst>
        </pc:spChg>
        <pc:graphicFrameChg chg="mod">
          <ac:chgData name="Altynay Arapova" userId="f3af597a-fcff-4574-b6bf-ad432273a486" providerId="ADAL" clId="{F08CA262-08D4-41D9-8791-62FB9E3D495E}" dt="2023-10-14T03:33:03.846" v="825"/>
          <ac:graphicFrameMkLst>
            <pc:docMk/>
            <pc:sldMk cId="4003325401" sldId="294"/>
            <ac:graphicFrameMk id="10" creationId="{BD885838-C520-FEE7-FA16-EE8360BA7931}"/>
          </ac:graphicFrameMkLst>
        </pc:graphicFrameChg>
        <pc:picChg chg="mod ord">
          <ac:chgData name="Altynay Arapova" userId="f3af597a-fcff-4574-b6bf-ad432273a486" providerId="ADAL" clId="{F08CA262-08D4-41D9-8791-62FB9E3D495E}" dt="2023-10-14T03:33:03.727" v="823"/>
          <ac:picMkLst>
            <pc:docMk/>
            <pc:sldMk cId="4003325401" sldId="294"/>
            <ac:picMk id="4" creationId="{632EA9FC-9C8C-304D-BD2B-9F2981F1DB43}"/>
          </ac:picMkLst>
        </pc:picChg>
        <pc:picChg chg="del">
          <ac:chgData name="Altynay Arapova" userId="f3af597a-fcff-4574-b6bf-ad432273a486" providerId="ADAL" clId="{F08CA262-08D4-41D9-8791-62FB9E3D495E}" dt="2023-10-14T03:26:34.900" v="110" actId="478"/>
          <ac:picMkLst>
            <pc:docMk/>
            <pc:sldMk cId="4003325401" sldId="294"/>
            <ac:picMk id="7" creationId="{28E68E25-28D5-5CD7-5C58-B85869FADE1A}"/>
          </ac:picMkLst>
        </pc:picChg>
        <pc:picChg chg="add mod ord">
          <ac:chgData name="Altynay Arapova" userId="f3af597a-fcff-4574-b6bf-ad432273a486" providerId="ADAL" clId="{F08CA262-08D4-41D9-8791-62FB9E3D495E}" dt="2023-10-14T03:33:03.727" v="823"/>
          <ac:picMkLst>
            <pc:docMk/>
            <pc:sldMk cId="4003325401" sldId="294"/>
            <ac:picMk id="27" creationId="{462BDC96-9D38-C49E-E496-856C542C8AE5}"/>
          </ac:picMkLst>
        </pc:picChg>
        <pc:picChg chg="add mod ord">
          <ac:chgData name="Altynay Arapova" userId="f3af597a-fcff-4574-b6bf-ad432273a486" providerId="ADAL" clId="{F08CA262-08D4-41D9-8791-62FB9E3D495E}" dt="2023-10-14T03:33:03.727" v="823"/>
          <ac:picMkLst>
            <pc:docMk/>
            <pc:sldMk cId="4003325401" sldId="294"/>
            <ac:picMk id="28" creationId="{4E7FF486-4A12-4AE5-7F44-000F62417176}"/>
          </ac:picMkLst>
        </pc:picChg>
        <pc:picChg chg="add mod ord">
          <ac:chgData name="Altynay Arapova" userId="f3af597a-fcff-4574-b6bf-ad432273a486" providerId="ADAL" clId="{F08CA262-08D4-41D9-8791-62FB9E3D495E}" dt="2023-10-14T03:33:03.727" v="823"/>
          <ac:picMkLst>
            <pc:docMk/>
            <pc:sldMk cId="4003325401" sldId="294"/>
            <ac:picMk id="29" creationId="{8610DC4C-C106-39AF-8EEA-1D44092FA27C}"/>
          </ac:picMkLst>
        </pc:picChg>
        <pc:picChg chg="add mod ord">
          <ac:chgData name="Altynay Arapova" userId="f3af597a-fcff-4574-b6bf-ad432273a486" providerId="ADAL" clId="{F08CA262-08D4-41D9-8791-62FB9E3D495E}" dt="2023-10-14T03:33:03.727" v="823"/>
          <ac:picMkLst>
            <pc:docMk/>
            <pc:sldMk cId="4003325401" sldId="294"/>
            <ac:picMk id="30" creationId="{05FD483E-33E2-9921-3A07-CCAA4D6C039A}"/>
          </ac:picMkLst>
        </pc:picChg>
        <pc:picChg chg="add mod ord">
          <ac:chgData name="Altynay Arapova" userId="f3af597a-fcff-4574-b6bf-ad432273a486" providerId="ADAL" clId="{F08CA262-08D4-41D9-8791-62FB9E3D495E}" dt="2023-10-14T03:33:03.727" v="823"/>
          <ac:picMkLst>
            <pc:docMk/>
            <pc:sldMk cId="4003325401" sldId="294"/>
            <ac:picMk id="31" creationId="{47A121BF-E70B-D5F1-63A1-176C5DEEF712}"/>
          </ac:picMkLst>
        </pc:picChg>
        <pc:picChg chg="add mod ord">
          <ac:chgData name="Altynay Arapova" userId="f3af597a-fcff-4574-b6bf-ad432273a486" providerId="ADAL" clId="{F08CA262-08D4-41D9-8791-62FB9E3D495E}" dt="2023-10-14T03:33:03.727" v="823"/>
          <ac:picMkLst>
            <pc:docMk/>
            <pc:sldMk cId="4003325401" sldId="294"/>
            <ac:picMk id="32" creationId="{62D8A9E2-871C-F43E-87BF-0DCB90B44133}"/>
          </ac:picMkLst>
        </pc:picChg>
      </pc:sldChg>
      <pc:sldChg chg="addSp delSp modSp new add mod">
        <pc:chgData name="Altynay Arapova" userId="f3af597a-fcff-4574-b6bf-ad432273a486" providerId="ADAL" clId="{F08CA262-08D4-41D9-8791-62FB9E3D495E}" dt="2023-10-14T03:42:57.524" v="907" actId="403"/>
        <pc:sldMkLst>
          <pc:docMk/>
          <pc:sldMk cId="541113160" sldId="295"/>
        </pc:sldMkLst>
        <pc:spChg chg="mod">
          <ac:chgData name="Altynay Arapova" userId="f3af597a-fcff-4574-b6bf-ad432273a486" providerId="ADAL" clId="{F08CA262-08D4-41D9-8791-62FB9E3D495E}" dt="2023-10-14T03:40:21.939" v="871" actId="948"/>
          <ac:spMkLst>
            <pc:docMk/>
            <pc:sldMk cId="541113160" sldId="295"/>
            <ac:spMk id="2" creationId="{D70F4579-B377-DE92-EEAC-AFDD44A82D63}"/>
          </ac:spMkLst>
        </pc:spChg>
        <pc:spChg chg="del">
          <ac:chgData name="Altynay Arapova" userId="f3af597a-fcff-4574-b6bf-ad432273a486" providerId="ADAL" clId="{F08CA262-08D4-41D9-8791-62FB9E3D495E}" dt="2023-10-14T03:39:21.494" v="834" actId="478"/>
          <ac:spMkLst>
            <pc:docMk/>
            <pc:sldMk cId="541113160" sldId="295"/>
            <ac:spMk id="3" creationId="{FA795D08-CC8B-14F7-AE06-4A741DEED5BF}"/>
          </ac:spMkLst>
        </pc:spChg>
        <pc:spChg chg="add mod">
          <ac:chgData name="Altynay Arapova" userId="f3af597a-fcff-4574-b6bf-ad432273a486" providerId="ADAL" clId="{F08CA262-08D4-41D9-8791-62FB9E3D495E}" dt="2023-10-14T03:42:49.927" v="906" actId="14100"/>
          <ac:spMkLst>
            <pc:docMk/>
            <pc:sldMk cId="541113160" sldId="295"/>
            <ac:spMk id="8" creationId="{07E65403-B6FF-4104-D83E-948D156A4E3C}"/>
          </ac:spMkLst>
        </pc:spChg>
        <pc:spChg chg="add mod">
          <ac:chgData name="Altynay Arapova" userId="f3af597a-fcff-4574-b6bf-ad432273a486" providerId="ADAL" clId="{F08CA262-08D4-41D9-8791-62FB9E3D495E}" dt="2023-10-14T03:42:57.524" v="907" actId="403"/>
          <ac:spMkLst>
            <pc:docMk/>
            <pc:sldMk cId="541113160" sldId="295"/>
            <ac:spMk id="11" creationId="{9AB18A0B-D2D1-91D3-DF4A-9506D5109059}"/>
          </ac:spMkLst>
        </pc:spChg>
        <pc:graphicFrameChg chg="add mod ord modVis replST">
          <ac:chgData name="Altynay Arapova" userId="f3af597a-fcff-4574-b6bf-ad432273a486" providerId="ADAL" clId="{F08CA262-08D4-41D9-8791-62FB9E3D495E}" dt="2023-10-14T03:40:21.954" v="875"/>
          <ac:graphicFrameMkLst>
            <pc:docMk/>
            <pc:sldMk cId="541113160" sldId="295"/>
            <ac:graphicFrameMk id="9" creationId="{57A34EEB-7B1F-4B60-651D-8D5E2CCDF93D}"/>
          </ac:graphicFrameMkLst>
        </pc:graphicFrameChg>
        <pc:picChg chg="add mod">
          <ac:chgData name="Altynay Arapova" userId="f3af597a-fcff-4574-b6bf-ad432273a486" providerId="ADAL" clId="{F08CA262-08D4-41D9-8791-62FB9E3D495E}" dt="2023-10-14T03:39:30.098" v="835"/>
          <ac:picMkLst>
            <pc:docMk/>
            <pc:sldMk cId="541113160" sldId="295"/>
            <ac:picMk id="5" creationId="{DEA47768-AF13-069E-AC72-A62E3E04CAF7}"/>
          </ac:picMkLst>
        </pc:picChg>
        <pc:picChg chg="add mod">
          <ac:chgData name="Altynay Arapova" userId="f3af597a-fcff-4574-b6bf-ad432273a486" providerId="ADAL" clId="{F08CA262-08D4-41D9-8791-62FB9E3D495E}" dt="2023-10-14T03:39:30.098" v="835"/>
          <ac:picMkLst>
            <pc:docMk/>
            <pc:sldMk cId="541113160" sldId="295"/>
            <ac:picMk id="6" creationId="{E6B431C8-E847-3118-3E7B-882015E1C78B}"/>
          </ac:picMkLst>
        </pc:picChg>
        <pc:picChg chg="add mod">
          <ac:chgData name="Altynay Arapova" userId="f3af597a-fcff-4574-b6bf-ad432273a486" providerId="ADAL" clId="{F08CA262-08D4-41D9-8791-62FB9E3D495E}" dt="2023-10-14T03:39:30.098" v="835"/>
          <ac:picMkLst>
            <pc:docMk/>
            <pc:sldMk cId="541113160" sldId="295"/>
            <ac:picMk id="7" creationId="{97EC9771-7545-A718-5F49-880C60C011EA}"/>
          </ac:picMkLst>
        </pc:picChg>
      </pc:sldChg>
      <pc:sldChg chg="addSp delSp modSp new add mod">
        <pc:chgData name="Altynay Arapova" userId="f3af597a-fcff-4574-b6bf-ad432273a486" providerId="ADAL" clId="{F08CA262-08D4-41D9-8791-62FB9E3D495E}" dt="2023-10-14T04:06:27.385" v="1556" actId="1076"/>
        <pc:sldMkLst>
          <pc:docMk/>
          <pc:sldMk cId="3845602710" sldId="296"/>
        </pc:sldMkLst>
        <pc:spChg chg="del">
          <ac:chgData name="Altynay Arapova" userId="f3af597a-fcff-4574-b6bf-ad432273a486" providerId="ADAL" clId="{F08CA262-08D4-41D9-8791-62FB9E3D495E}" dt="2023-10-14T03:48:59.443" v="913" actId="478"/>
          <ac:spMkLst>
            <pc:docMk/>
            <pc:sldMk cId="3845602710" sldId="296"/>
            <ac:spMk id="2" creationId="{6281F8A5-6C51-1CDE-F741-9193EA8D3A3D}"/>
          </ac:spMkLst>
        </pc:spChg>
        <pc:spChg chg="del">
          <ac:chgData name="Altynay Arapova" userId="f3af597a-fcff-4574-b6bf-ad432273a486" providerId="ADAL" clId="{F08CA262-08D4-41D9-8791-62FB9E3D495E}" dt="2023-10-14T03:48:50.586" v="910" actId="478"/>
          <ac:spMkLst>
            <pc:docMk/>
            <pc:sldMk cId="3845602710" sldId="296"/>
            <ac:spMk id="3" creationId="{AEF794FC-D70D-3815-00E9-C0B01BBEEE9D}"/>
          </ac:spMkLst>
        </pc:spChg>
        <pc:spChg chg="add mod">
          <ac:chgData name="Altynay Arapova" userId="f3af597a-fcff-4574-b6bf-ad432273a486" providerId="ADAL" clId="{F08CA262-08D4-41D9-8791-62FB9E3D495E}" dt="2023-10-14T03:53:07.515" v="1125" actId="1076"/>
          <ac:spMkLst>
            <pc:docMk/>
            <pc:sldMk cId="3845602710" sldId="296"/>
            <ac:spMk id="6" creationId="{3BC0A284-3DF3-97DA-1444-7E85F0C7EB4B}"/>
          </ac:spMkLst>
        </pc:spChg>
        <pc:spChg chg="mod">
          <ac:chgData name="Altynay Arapova" userId="f3af597a-fcff-4574-b6bf-ad432273a486" providerId="ADAL" clId="{F08CA262-08D4-41D9-8791-62FB9E3D495E}" dt="2023-10-14T03:49:19.710" v="932"/>
          <ac:spMkLst>
            <pc:docMk/>
            <pc:sldMk cId="3845602710" sldId="296"/>
            <ac:spMk id="11" creationId="{3FBAB795-E467-B03A-D636-1B263319CCA2}"/>
          </ac:spMkLst>
        </pc:spChg>
        <pc:spChg chg="mod">
          <ac:chgData name="Altynay Arapova" userId="f3af597a-fcff-4574-b6bf-ad432273a486" providerId="ADAL" clId="{F08CA262-08D4-41D9-8791-62FB9E3D495E}" dt="2023-10-14T03:49:19.710" v="932"/>
          <ac:spMkLst>
            <pc:docMk/>
            <pc:sldMk cId="3845602710" sldId="296"/>
            <ac:spMk id="12" creationId="{622F799C-1E3B-9D39-1EBE-9931724C93D1}"/>
          </ac:spMkLst>
        </pc:spChg>
        <pc:spChg chg="mod">
          <ac:chgData name="Altynay Arapova" userId="f3af597a-fcff-4574-b6bf-ad432273a486" providerId="ADAL" clId="{F08CA262-08D4-41D9-8791-62FB9E3D495E}" dt="2023-10-14T03:49:19.710" v="932"/>
          <ac:spMkLst>
            <pc:docMk/>
            <pc:sldMk cId="3845602710" sldId="296"/>
            <ac:spMk id="14" creationId="{4C0625B8-BD84-36F4-891F-45F6FC0B275F}"/>
          </ac:spMkLst>
        </pc:spChg>
        <pc:spChg chg="mod">
          <ac:chgData name="Altynay Arapova" userId="f3af597a-fcff-4574-b6bf-ad432273a486" providerId="ADAL" clId="{F08CA262-08D4-41D9-8791-62FB9E3D495E}" dt="2023-10-14T03:49:19.710" v="932"/>
          <ac:spMkLst>
            <pc:docMk/>
            <pc:sldMk cId="3845602710" sldId="296"/>
            <ac:spMk id="15" creationId="{064A02FB-66C1-EE14-C5BD-5605F8ADB252}"/>
          </ac:spMkLst>
        </pc:spChg>
        <pc:spChg chg="add mod">
          <ac:chgData name="Altynay Arapova" userId="f3af597a-fcff-4574-b6bf-ad432273a486" providerId="ADAL" clId="{F08CA262-08D4-41D9-8791-62FB9E3D495E}" dt="2023-10-14T03:50:37.543" v="1058" actId="948"/>
          <ac:spMkLst>
            <pc:docMk/>
            <pc:sldMk cId="3845602710" sldId="296"/>
            <ac:spMk id="17" creationId="{6F0ABB95-227F-708A-C8F0-0E1C6229EF5F}"/>
          </ac:spMkLst>
        </pc:spChg>
        <pc:spChg chg="add del mod modVis">
          <ac:chgData name="Altynay Arapova" userId="f3af597a-fcff-4574-b6bf-ad432273a486" providerId="ADAL" clId="{F08CA262-08D4-41D9-8791-62FB9E3D495E}" dt="2023-10-14T03:49:55.285" v="962"/>
          <ac:spMkLst>
            <pc:docMk/>
            <pc:sldMk cId="3845602710" sldId="296"/>
            <ac:spMk id="18" creationId="{B20497FD-F7DB-6514-BFF4-77B23D2169B7}"/>
          </ac:spMkLst>
        </pc:spChg>
        <pc:spChg chg="add del mod modVis">
          <ac:chgData name="Altynay Arapova" userId="f3af597a-fcff-4574-b6bf-ad432273a486" providerId="ADAL" clId="{F08CA262-08D4-41D9-8791-62FB9E3D495E}" dt="2023-10-14T03:49:59.491" v="990"/>
          <ac:spMkLst>
            <pc:docMk/>
            <pc:sldMk cId="3845602710" sldId="296"/>
            <ac:spMk id="19" creationId="{A3C157BD-5FA4-76C6-896F-7DB78D53B25D}"/>
          </ac:spMkLst>
        </pc:spChg>
        <pc:spChg chg="add del mod modVis">
          <ac:chgData name="Altynay Arapova" userId="f3af597a-fcff-4574-b6bf-ad432273a486" providerId="ADAL" clId="{F08CA262-08D4-41D9-8791-62FB9E3D495E}" dt="2023-10-14T03:50:02.310" v="1018"/>
          <ac:spMkLst>
            <pc:docMk/>
            <pc:sldMk cId="3845602710" sldId="296"/>
            <ac:spMk id="20" creationId="{4FB227D8-D8BD-F84E-07D8-A034BFB652D3}"/>
          </ac:spMkLst>
        </pc:spChg>
        <pc:spChg chg="add del mod modVis">
          <ac:chgData name="Altynay Arapova" userId="f3af597a-fcff-4574-b6bf-ad432273a486" providerId="ADAL" clId="{F08CA262-08D4-41D9-8791-62FB9E3D495E}" dt="2023-10-14T03:50:33.929" v="1054"/>
          <ac:spMkLst>
            <pc:docMk/>
            <pc:sldMk cId="3845602710" sldId="296"/>
            <ac:spMk id="21" creationId="{958BF272-5FFB-C36D-0B9C-67A2931A5D13}"/>
          </ac:spMkLst>
        </pc:spChg>
        <pc:spChg chg="add del mod modVis">
          <ac:chgData name="Altynay Arapova" userId="f3af597a-fcff-4574-b6bf-ad432273a486" providerId="ADAL" clId="{F08CA262-08D4-41D9-8791-62FB9E3D495E}" dt="2023-10-14T03:50:37.560" v="1082"/>
          <ac:spMkLst>
            <pc:docMk/>
            <pc:sldMk cId="3845602710" sldId="296"/>
            <ac:spMk id="22" creationId="{BCEC981F-E288-EFC3-C1B5-8E84CF57CC05}"/>
          </ac:spMkLst>
        </pc:spChg>
        <pc:spChg chg="add mod">
          <ac:chgData name="Altynay Arapova" userId="f3af597a-fcff-4574-b6bf-ad432273a486" providerId="ADAL" clId="{F08CA262-08D4-41D9-8791-62FB9E3D495E}" dt="2023-10-14T03:56:19.249" v="1169" actId="1076"/>
          <ac:spMkLst>
            <pc:docMk/>
            <pc:sldMk cId="3845602710" sldId="296"/>
            <ac:spMk id="23" creationId="{545247DD-0982-3C32-9273-6F0D492F44AA}"/>
          </ac:spMkLst>
        </pc:spChg>
        <pc:spChg chg="add mod">
          <ac:chgData name="Altynay Arapova" userId="f3af597a-fcff-4574-b6bf-ad432273a486" providerId="ADAL" clId="{F08CA262-08D4-41D9-8791-62FB9E3D495E}" dt="2023-10-14T03:55:17.409" v="1164" actId="1076"/>
          <ac:spMkLst>
            <pc:docMk/>
            <pc:sldMk cId="3845602710" sldId="296"/>
            <ac:spMk id="24" creationId="{4FBA2E48-315E-5854-52C0-E53B7CFEAC7E}"/>
          </ac:spMkLst>
        </pc:spChg>
        <pc:spChg chg="add mod">
          <ac:chgData name="Altynay Arapova" userId="f3af597a-fcff-4574-b6bf-ad432273a486" providerId="ADAL" clId="{F08CA262-08D4-41D9-8791-62FB9E3D495E}" dt="2023-10-14T03:56:27.152" v="1173" actId="1076"/>
          <ac:spMkLst>
            <pc:docMk/>
            <pc:sldMk cId="3845602710" sldId="296"/>
            <ac:spMk id="25" creationId="{74CC1FD8-6FB8-B513-1548-464B4C3E5F85}"/>
          </ac:spMkLst>
        </pc:spChg>
        <pc:grpChg chg="add mod">
          <ac:chgData name="Altynay Arapova" userId="f3af597a-fcff-4574-b6bf-ad432273a486" providerId="ADAL" clId="{F08CA262-08D4-41D9-8791-62FB9E3D495E}" dt="2023-10-14T03:49:37.522" v="935" actId="1076"/>
          <ac:grpSpMkLst>
            <pc:docMk/>
            <pc:sldMk cId="3845602710" sldId="296"/>
            <ac:grpSpMk id="10" creationId="{3C24190D-6B9C-9709-1CFB-E4ABFCFDB483}"/>
          </ac:grpSpMkLst>
        </pc:grpChg>
        <pc:grpChg chg="add mod">
          <ac:chgData name="Altynay Arapova" userId="f3af597a-fcff-4574-b6bf-ad432273a486" providerId="ADAL" clId="{F08CA262-08D4-41D9-8791-62FB9E3D495E}" dt="2023-10-14T03:49:37.522" v="935" actId="1076"/>
          <ac:grpSpMkLst>
            <pc:docMk/>
            <pc:sldMk cId="3845602710" sldId="296"/>
            <ac:grpSpMk id="13" creationId="{14AF69FA-0A75-BA39-FFA5-D500534B723F}"/>
          </ac:grpSpMkLst>
        </pc:grpChg>
        <pc:graphicFrameChg chg="add mod ord modVis replST">
          <ac:chgData name="Altynay Arapova" userId="f3af597a-fcff-4574-b6bf-ad432273a486" providerId="ADAL" clId="{F08CA262-08D4-41D9-8791-62FB9E3D495E}" dt="2023-10-14T03:50:37.560" v="1084"/>
          <ac:graphicFrameMkLst>
            <pc:docMk/>
            <pc:sldMk cId="3845602710" sldId="296"/>
            <ac:graphicFrameMk id="8" creationId="{4E9E38B2-F366-0632-198E-3F040A36B79B}"/>
          </ac:graphicFrameMkLst>
        </pc:graphicFrameChg>
        <pc:picChg chg="add mod">
          <ac:chgData name="Altynay Arapova" userId="f3af597a-fcff-4574-b6bf-ad432273a486" providerId="ADAL" clId="{F08CA262-08D4-41D9-8791-62FB9E3D495E}" dt="2023-10-14T03:52:03.811" v="1116" actId="14100"/>
          <ac:picMkLst>
            <pc:docMk/>
            <pc:sldMk cId="3845602710" sldId="296"/>
            <ac:picMk id="7" creationId="{4A29746A-05E3-AF0D-5EE5-A06D8F452086}"/>
          </ac:picMkLst>
        </pc:picChg>
        <pc:picChg chg="add del mod">
          <ac:chgData name="Altynay Arapova" userId="f3af597a-fcff-4574-b6bf-ad432273a486" providerId="ADAL" clId="{F08CA262-08D4-41D9-8791-62FB9E3D495E}" dt="2023-10-14T04:06:24.188" v="1554" actId="478"/>
          <ac:picMkLst>
            <pc:docMk/>
            <pc:sldMk cId="3845602710" sldId="296"/>
            <ac:picMk id="26" creationId="{8D2E0B94-B16A-D00B-5EFE-D47C62E3BDC4}"/>
          </ac:picMkLst>
        </pc:picChg>
        <pc:picChg chg="add mod">
          <ac:chgData name="Altynay Arapova" userId="f3af597a-fcff-4574-b6bf-ad432273a486" providerId="ADAL" clId="{F08CA262-08D4-41D9-8791-62FB9E3D495E}" dt="2023-10-14T04:06:27.385" v="1556" actId="1076"/>
          <ac:picMkLst>
            <pc:docMk/>
            <pc:sldMk cId="3845602710" sldId="296"/>
            <ac:picMk id="27" creationId="{59A411EF-ADAC-A203-5FDC-5E82C178D596}"/>
          </ac:picMkLst>
        </pc:picChg>
        <pc:cxnChg chg="add del mod">
          <ac:chgData name="Altynay Arapova" userId="f3af597a-fcff-4574-b6bf-ad432273a486" providerId="ADAL" clId="{F08CA262-08D4-41D9-8791-62FB9E3D495E}" dt="2023-10-14T03:49:17.459" v="931" actId="478"/>
          <ac:cxnSpMkLst>
            <pc:docMk/>
            <pc:sldMk cId="3845602710" sldId="296"/>
            <ac:cxnSpMk id="5" creationId="{EA9F3BC5-6773-F8F9-49E3-24417D978A55}"/>
          </ac:cxnSpMkLst>
        </pc:cxnChg>
        <pc:cxnChg chg="add mod">
          <ac:chgData name="Altynay Arapova" userId="f3af597a-fcff-4574-b6bf-ad432273a486" providerId="ADAL" clId="{F08CA262-08D4-41D9-8791-62FB9E3D495E}" dt="2023-10-14T03:49:37.522" v="935" actId="1076"/>
          <ac:cxnSpMkLst>
            <pc:docMk/>
            <pc:sldMk cId="3845602710" sldId="296"/>
            <ac:cxnSpMk id="9" creationId="{517501E7-4FB6-227A-5FC3-9ACFEFEA4B28}"/>
          </ac:cxnSpMkLst>
        </pc:cxnChg>
      </pc:sldChg>
      <pc:sldChg chg="new add del">
        <pc:chgData name="Altynay Arapova" userId="f3af597a-fcff-4574-b6bf-ad432273a486" providerId="ADAL" clId="{F08CA262-08D4-41D9-8791-62FB9E3D495E}" dt="2023-10-14T03:57:14.915" v="1185" actId="47"/>
        <pc:sldMkLst>
          <pc:docMk/>
          <pc:sldMk cId="2845217094" sldId="297"/>
        </pc:sldMkLst>
      </pc:sldChg>
      <pc:sldChg chg="addSp delSp modSp add mod">
        <pc:chgData name="Altynay Arapova" userId="f3af597a-fcff-4574-b6bf-ad432273a486" providerId="ADAL" clId="{F08CA262-08D4-41D9-8791-62FB9E3D495E}" dt="2023-10-17T07:17:37.954" v="1880" actId="20577"/>
        <pc:sldMkLst>
          <pc:docMk/>
          <pc:sldMk cId="412158556" sldId="298"/>
        </pc:sldMkLst>
        <pc:spChg chg="add del mod modVis">
          <ac:chgData name="Altynay Arapova" userId="f3af597a-fcff-4574-b6bf-ad432273a486" providerId="ADAL" clId="{F08CA262-08D4-41D9-8791-62FB9E3D495E}" dt="2023-10-14T03:58:15.266" v="1216"/>
          <ac:spMkLst>
            <pc:docMk/>
            <pc:sldMk cId="412158556" sldId="298"/>
            <ac:spMk id="2" creationId="{B87F932D-9DAA-793C-07EB-E5BE2297EE5C}"/>
          </ac:spMkLst>
        </pc:spChg>
        <pc:spChg chg="add del mod modVis">
          <ac:chgData name="Altynay Arapova" userId="f3af597a-fcff-4574-b6bf-ad432273a486" providerId="ADAL" clId="{F08CA262-08D4-41D9-8791-62FB9E3D495E}" dt="2023-10-14T03:58:19.371" v="1259"/>
          <ac:spMkLst>
            <pc:docMk/>
            <pc:sldMk cId="412158556" sldId="298"/>
            <ac:spMk id="3" creationId="{3A68A6C9-C3F1-51FC-2FB7-0B1005B71EE6}"/>
          </ac:spMkLst>
        </pc:spChg>
        <pc:spChg chg="add del mod modVis">
          <ac:chgData name="Altynay Arapova" userId="f3af597a-fcff-4574-b6bf-ad432273a486" providerId="ADAL" clId="{F08CA262-08D4-41D9-8791-62FB9E3D495E}" dt="2023-10-14T03:58:20.172" v="1287"/>
          <ac:spMkLst>
            <pc:docMk/>
            <pc:sldMk cId="412158556" sldId="298"/>
            <ac:spMk id="5" creationId="{36F2342D-1493-4DD2-89A3-90C8EB1C391D}"/>
          </ac:spMkLst>
        </pc:spChg>
        <pc:spChg chg="del">
          <ac:chgData name="Altynay Arapova" userId="f3af597a-fcff-4574-b6bf-ad432273a486" providerId="ADAL" clId="{F08CA262-08D4-41D9-8791-62FB9E3D495E}" dt="2023-10-14T03:57:07.327" v="1179" actId="478"/>
          <ac:spMkLst>
            <pc:docMk/>
            <pc:sldMk cId="412158556" sldId="298"/>
            <ac:spMk id="6" creationId="{3BC0A284-3DF3-97DA-1444-7E85F0C7EB4B}"/>
          </ac:spMkLst>
        </pc:spChg>
        <pc:spChg chg="add del mod modVis">
          <ac:chgData name="Altynay Arapova" userId="f3af597a-fcff-4574-b6bf-ad432273a486" providerId="ADAL" clId="{F08CA262-08D4-41D9-8791-62FB9E3D495E}" dt="2023-10-14T03:58:22.947" v="1327"/>
          <ac:spMkLst>
            <pc:docMk/>
            <pc:sldMk cId="412158556" sldId="298"/>
            <ac:spMk id="16" creationId="{9CABB925-0E84-301A-A3A4-09CB2BD703A9}"/>
          </ac:spMkLst>
        </pc:spChg>
        <pc:spChg chg="mod">
          <ac:chgData name="Altynay Arapova" userId="f3af597a-fcff-4574-b6bf-ad432273a486" providerId="ADAL" clId="{F08CA262-08D4-41D9-8791-62FB9E3D495E}" dt="2023-10-14T03:58:56.816" v="1432" actId="108"/>
          <ac:spMkLst>
            <pc:docMk/>
            <pc:sldMk cId="412158556" sldId="298"/>
            <ac:spMk id="17" creationId="{6F0ABB95-227F-708A-C8F0-0E1C6229EF5F}"/>
          </ac:spMkLst>
        </pc:spChg>
        <pc:spChg chg="add del mod modVis">
          <ac:chgData name="Altynay Arapova" userId="f3af597a-fcff-4574-b6bf-ad432273a486" providerId="ADAL" clId="{F08CA262-08D4-41D9-8791-62FB9E3D495E}" dt="2023-10-14T03:58:23.583" v="1356"/>
          <ac:spMkLst>
            <pc:docMk/>
            <pc:sldMk cId="412158556" sldId="298"/>
            <ac:spMk id="18" creationId="{522155B7-3439-CCF6-8516-49AA72A3C33A}"/>
          </ac:spMkLst>
        </pc:spChg>
        <pc:spChg chg="add del mod modVis">
          <ac:chgData name="Altynay Arapova" userId="f3af597a-fcff-4574-b6bf-ad432273a486" providerId="ADAL" clId="{F08CA262-08D4-41D9-8791-62FB9E3D495E}" dt="2023-10-14T03:58:31.998" v="1389"/>
          <ac:spMkLst>
            <pc:docMk/>
            <pc:sldMk cId="412158556" sldId="298"/>
            <ac:spMk id="19" creationId="{C316697F-96B7-18F0-6F1D-AA231D0D2DEC}"/>
          </ac:spMkLst>
        </pc:spChg>
        <pc:spChg chg="add del mod modVis">
          <ac:chgData name="Altynay Arapova" userId="f3af597a-fcff-4574-b6bf-ad432273a486" providerId="ADAL" clId="{F08CA262-08D4-41D9-8791-62FB9E3D495E}" dt="2023-10-14T03:58:34.811" v="1417"/>
          <ac:spMkLst>
            <pc:docMk/>
            <pc:sldMk cId="412158556" sldId="298"/>
            <ac:spMk id="20" creationId="{E67FDD6B-0908-CF1C-30D6-227A53D752FC}"/>
          </ac:spMkLst>
        </pc:spChg>
        <pc:spChg chg="add mod">
          <ac:chgData name="Altynay Arapova" userId="f3af597a-fcff-4574-b6bf-ad432273a486" providerId="ADAL" clId="{F08CA262-08D4-41D9-8791-62FB9E3D495E}" dt="2023-10-17T07:17:37.954" v="1880" actId="20577"/>
          <ac:spMkLst>
            <pc:docMk/>
            <pc:sldMk cId="412158556" sldId="298"/>
            <ac:spMk id="21" creationId="{F6C22850-FEBA-2936-9186-420BA9D05A1D}"/>
          </ac:spMkLst>
        </pc:spChg>
        <pc:spChg chg="add mod">
          <ac:chgData name="Altynay Arapova" userId="f3af597a-fcff-4574-b6bf-ad432273a486" providerId="ADAL" clId="{F08CA262-08D4-41D9-8791-62FB9E3D495E}" dt="2023-10-14T04:03:28.445" v="1530" actId="20577"/>
          <ac:spMkLst>
            <pc:docMk/>
            <pc:sldMk cId="412158556" sldId="298"/>
            <ac:spMk id="22" creationId="{0C306526-B936-5495-7646-B7394AF1397B}"/>
          </ac:spMkLst>
        </pc:spChg>
        <pc:spChg chg="del">
          <ac:chgData name="Altynay Arapova" userId="f3af597a-fcff-4574-b6bf-ad432273a486" providerId="ADAL" clId="{F08CA262-08D4-41D9-8791-62FB9E3D495E}" dt="2023-10-14T03:57:12.457" v="1184" actId="478"/>
          <ac:spMkLst>
            <pc:docMk/>
            <pc:sldMk cId="412158556" sldId="298"/>
            <ac:spMk id="23" creationId="{545247DD-0982-3C32-9273-6F0D492F44AA}"/>
          </ac:spMkLst>
        </pc:spChg>
        <pc:spChg chg="del">
          <ac:chgData name="Altynay Arapova" userId="f3af597a-fcff-4574-b6bf-ad432273a486" providerId="ADAL" clId="{F08CA262-08D4-41D9-8791-62FB9E3D495E}" dt="2023-10-14T03:57:08.114" v="1180" actId="478"/>
          <ac:spMkLst>
            <pc:docMk/>
            <pc:sldMk cId="412158556" sldId="298"/>
            <ac:spMk id="24" creationId="{4FBA2E48-315E-5854-52C0-E53B7CFEAC7E}"/>
          </ac:spMkLst>
        </pc:spChg>
        <pc:spChg chg="del mod">
          <ac:chgData name="Altynay Arapova" userId="f3af597a-fcff-4574-b6bf-ad432273a486" providerId="ADAL" clId="{F08CA262-08D4-41D9-8791-62FB9E3D495E}" dt="2023-10-14T03:57:11.473" v="1183" actId="478"/>
          <ac:spMkLst>
            <pc:docMk/>
            <pc:sldMk cId="412158556" sldId="298"/>
            <ac:spMk id="25" creationId="{74CC1FD8-6FB8-B513-1548-464B4C3E5F85}"/>
          </ac:spMkLst>
        </pc:spChg>
        <pc:graphicFrameChg chg="mod">
          <ac:chgData name="Altynay Arapova" userId="f3af597a-fcff-4574-b6bf-ad432273a486" providerId="ADAL" clId="{F08CA262-08D4-41D9-8791-62FB9E3D495E}" dt="2023-10-14T03:58:56.855" v="1434"/>
          <ac:graphicFrameMkLst>
            <pc:docMk/>
            <pc:sldMk cId="412158556" sldId="298"/>
            <ac:graphicFrameMk id="8" creationId="{4E9E38B2-F366-0632-198E-3F040A36B79B}"/>
          </ac:graphicFrameMkLst>
        </pc:graphicFrameChg>
        <pc:picChg chg="del">
          <ac:chgData name="Altynay Arapova" userId="f3af597a-fcff-4574-b6bf-ad432273a486" providerId="ADAL" clId="{F08CA262-08D4-41D9-8791-62FB9E3D495E}" dt="2023-10-14T03:57:06.160" v="1178" actId="478"/>
          <ac:picMkLst>
            <pc:docMk/>
            <pc:sldMk cId="412158556" sldId="298"/>
            <ac:picMk id="7" creationId="{4A29746A-05E3-AF0D-5EE5-A06D8F452086}"/>
          </ac:picMkLst>
        </pc:picChg>
        <pc:picChg chg="del">
          <ac:chgData name="Altynay Arapova" userId="f3af597a-fcff-4574-b6bf-ad432273a486" providerId="ADAL" clId="{F08CA262-08D4-41D9-8791-62FB9E3D495E}" dt="2023-10-14T03:57:08.677" v="1181" actId="478"/>
          <ac:picMkLst>
            <pc:docMk/>
            <pc:sldMk cId="412158556" sldId="298"/>
            <ac:picMk id="26" creationId="{8D2E0B94-B16A-D00B-5EFE-D47C62E3BDC4}"/>
          </ac:picMkLst>
        </pc:picChg>
        <pc:picChg chg="add del mod">
          <ac:chgData name="Altynay Arapova" userId="f3af597a-fcff-4574-b6bf-ad432273a486" providerId="ADAL" clId="{F08CA262-08D4-41D9-8791-62FB9E3D495E}" dt="2023-10-14T04:06:14.768" v="1552" actId="478"/>
          <ac:picMkLst>
            <pc:docMk/>
            <pc:sldMk cId="412158556" sldId="298"/>
            <ac:picMk id="27" creationId="{8E2218E9-9895-534B-599E-41812EE588D5}"/>
          </ac:picMkLst>
        </pc:picChg>
        <pc:picChg chg="add mod">
          <ac:chgData name="Altynay Arapova" userId="f3af597a-fcff-4574-b6bf-ad432273a486" providerId="ADAL" clId="{F08CA262-08D4-41D9-8791-62FB9E3D495E}" dt="2023-10-14T04:05:21.281" v="1538" actId="1076"/>
          <ac:picMkLst>
            <pc:docMk/>
            <pc:sldMk cId="412158556" sldId="298"/>
            <ac:picMk id="28" creationId="{D11689D5-1943-F67F-51F6-37F990706355}"/>
          </ac:picMkLst>
        </pc:picChg>
        <pc:picChg chg="add mod">
          <ac:chgData name="Altynay Arapova" userId="f3af597a-fcff-4574-b6bf-ad432273a486" providerId="ADAL" clId="{F08CA262-08D4-41D9-8791-62FB9E3D495E}" dt="2023-10-14T04:10:24.405" v="1743" actId="1076"/>
          <ac:picMkLst>
            <pc:docMk/>
            <pc:sldMk cId="412158556" sldId="298"/>
            <ac:picMk id="30" creationId="{DC98A97E-9960-C63F-CB89-07216E482237}"/>
          </ac:picMkLst>
        </pc:picChg>
        <pc:picChg chg="add mod">
          <ac:chgData name="Altynay Arapova" userId="f3af597a-fcff-4574-b6bf-ad432273a486" providerId="ADAL" clId="{F08CA262-08D4-41D9-8791-62FB9E3D495E}" dt="2023-10-14T04:06:18.878" v="1553" actId="1076"/>
          <ac:picMkLst>
            <pc:docMk/>
            <pc:sldMk cId="412158556" sldId="298"/>
            <ac:picMk id="32" creationId="{BEA0F268-1A46-E3DB-CA74-8473F3BE1468}"/>
          </ac:picMkLst>
        </pc:picChg>
      </pc:sldChg>
      <pc:sldChg chg="new add del">
        <pc:chgData name="Altynay Arapova" userId="f3af597a-fcff-4574-b6bf-ad432273a486" providerId="ADAL" clId="{F08CA262-08D4-41D9-8791-62FB9E3D495E}" dt="2023-10-14T04:09:37.833" v="1705" actId="47"/>
        <pc:sldMkLst>
          <pc:docMk/>
          <pc:sldMk cId="395243900" sldId="299"/>
        </pc:sldMkLst>
      </pc:sldChg>
      <pc:sldChg chg="addSp delSp modSp add mod">
        <pc:chgData name="Altynay Arapova" userId="f3af597a-fcff-4574-b6bf-ad432273a486" providerId="ADAL" clId="{F08CA262-08D4-41D9-8791-62FB9E3D495E}" dt="2023-10-17T07:20:01.601" v="1882" actId="20577"/>
        <pc:sldMkLst>
          <pc:docMk/>
          <pc:sldMk cId="3502239725" sldId="300"/>
        </pc:sldMkLst>
        <pc:spChg chg="add del mod">
          <ac:chgData name="Altynay Arapova" userId="f3af597a-fcff-4574-b6bf-ad432273a486" providerId="ADAL" clId="{F08CA262-08D4-41D9-8791-62FB9E3D495E}" dt="2023-10-14T04:09:36.044" v="1704" actId="478"/>
          <ac:spMkLst>
            <pc:docMk/>
            <pc:sldMk cId="3502239725" sldId="300"/>
            <ac:spMk id="3" creationId="{F7135AC1-1BA4-9F6D-0A31-CC0D0BE86914}"/>
          </ac:spMkLst>
        </pc:spChg>
        <pc:spChg chg="add mod">
          <ac:chgData name="Altynay Arapova" userId="f3af597a-fcff-4574-b6bf-ad432273a486" providerId="ADAL" clId="{F08CA262-08D4-41D9-8791-62FB9E3D495E}" dt="2023-10-17T07:20:01.601" v="1882" actId="20577"/>
          <ac:spMkLst>
            <pc:docMk/>
            <pc:sldMk cId="3502239725" sldId="300"/>
            <ac:spMk id="5" creationId="{20B30706-CF35-0C10-96AB-03485E0410D7}"/>
          </ac:spMkLst>
        </pc:spChg>
        <pc:spChg chg="add del mod modVis">
          <ac:chgData name="Altynay Arapova" userId="f3af597a-fcff-4574-b6bf-ad432273a486" providerId="ADAL" clId="{F08CA262-08D4-41D9-8791-62FB9E3D495E}" dt="2023-10-14T04:10:09.453" v="1739"/>
          <ac:spMkLst>
            <pc:docMk/>
            <pc:sldMk cId="3502239725" sldId="300"/>
            <ac:spMk id="6" creationId="{69FC9FCD-D6D1-7CB6-FCC0-D0322D53380E}"/>
          </ac:spMkLst>
        </pc:spChg>
        <pc:spChg chg="mod">
          <ac:chgData name="Altynay Arapova" userId="f3af597a-fcff-4574-b6bf-ad432273a486" providerId="ADAL" clId="{F08CA262-08D4-41D9-8791-62FB9E3D495E}" dt="2023-10-14T04:10:09.392" v="1715" actId="948"/>
          <ac:spMkLst>
            <pc:docMk/>
            <pc:sldMk cId="3502239725" sldId="300"/>
            <ac:spMk id="17" creationId="{6F0ABB95-227F-708A-C8F0-0E1C6229EF5F}"/>
          </ac:spMkLst>
        </pc:spChg>
        <pc:spChg chg="del">
          <ac:chgData name="Altynay Arapova" userId="f3af597a-fcff-4574-b6bf-ad432273a486" providerId="ADAL" clId="{F08CA262-08D4-41D9-8791-62FB9E3D495E}" dt="2023-10-14T04:09:33.910" v="1703" actId="478"/>
          <ac:spMkLst>
            <pc:docMk/>
            <pc:sldMk cId="3502239725" sldId="300"/>
            <ac:spMk id="21" creationId="{F6C22850-FEBA-2936-9186-420BA9D05A1D}"/>
          </ac:spMkLst>
        </pc:spChg>
        <pc:spChg chg="del">
          <ac:chgData name="Altynay Arapova" userId="f3af597a-fcff-4574-b6bf-ad432273a486" providerId="ADAL" clId="{F08CA262-08D4-41D9-8791-62FB9E3D495E}" dt="2023-10-14T04:09:33.910" v="1703" actId="478"/>
          <ac:spMkLst>
            <pc:docMk/>
            <pc:sldMk cId="3502239725" sldId="300"/>
            <ac:spMk id="22" creationId="{0C306526-B936-5495-7646-B7394AF1397B}"/>
          </ac:spMkLst>
        </pc:spChg>
        <pc:spChg chg="add del mod">
          <ac:chgData name="Altynay Arapova" userId="f3af597a-fcff-4574-b6bf-ad432273a486" providerId="ADAL" clId="{F08CA262-08D4-41D9-8791-62FB9E3D495E}" dt="2023-10-14T04:11:41.861" v="1752" actId="478"/>
          <ac:spMkLst>
            <pc:docMk/>
            <pc:sldMk cId="3502239725" sldId="300"/>
            <ac:spMk id="25" creationId="{C0F31993-6F9E-0997-308F-229312B8574B}"/>
          </ac:spMkLst>
        </pc:spChg>
        <pc:spChg chg="add mod">
          <ac:chgData name="Altynay Arapova" userId="f3af597a-fcff-4574-b6bf-ad432273a486" providerId="ADAL" clId="{F08CA262-08D4-41D9-8791-62FB9E3D495E}" dt="2023-10-14T04:13:59.488" v="1783" actId="1076"/>
          <ac:spMkLst>
            <pc:docMk/>
            <pc:sldMk cId="3502239725" sldId="300"/>
            <ac:spMk id="27" creationId="{26D5FFBF-0595-3F69-F46A-4DBABE1890CA}"/>
          </ac:spMkLst>
        </pc:spChg>
        <pc:graphicFrameChg chg="mod">
          <ac:chgData name="Altynay Arapova" userId="f3af597a-fcff-4574-b6bf-ad432273a486" providerId="ADAL" clId="{F08CA262-08D4-41D9-8791-62FB9E3D495E}" dt="2023-10-14T04:10:09.460" v="1741"/>
          <ac:graphicFrameMkLst>
            <pc:docMk/>
            <pc:sldMk cId="3502239725" sldId="300"/>
            <ac:graphicFrameMk id="8" creationId="{4E9E38B2-F366-0632-198E-3F040A36B79B}"/>
          </ac:graphicFrameMkLst>
        </pc:graphicFrameChg>
        <pc:picChg chg="add del mod">
          <ac:chgData name="Altynay Arapova" userId="f3af597a-fcff-4574-b6bf-ad432273a486" providerId="ADAL" clId="{F08CA262-08D4-41D9-8791-62FB9E3D495E}" dt="2023-10-14T04:11:04.036" v="1746" actId="478"/>
          <ac:picMkLst>
            <pc:docMk/>
            <pc:sldMk cId="3502239725" sldId="300"/>
            <ac:picMk id="7" creationId="{A36CD0F8-5F0D-941D-72F6-63821AB82541}"/>
          </ac:picMkLst>
        </pc:picChg>
        <pc:picChg chg="add del mod">
          <ac:chgData name="Altynay Arapova" userId="f3af597a-fcff-4574-b6bf-ad432273a486" providerId="ADAL" clId="{F08CA262-08D4-41D9-8791-62FB9E3D495E}" dt="2023-10-14T04:14:16.117" v="1788" actId="478"/>
          <ac:picMkLst>
            <pc:docMk/>
            <pc:sldMk cId="3502239725" sldId="300"/>
            <ac:picMk id="16" creationId="{872B2427-B33E-8DB8-5FD7-565B2D77AC44}"/>
          </ac:picMkLst>
        </pc:picChg>
        <pc:picChg chg="add mod">
          <ac:chgData name="Altynay Arapova" userId="f3af597a-fcff-4574-b6bf-ad432273a486" providerId="ADAL" clId="{F08CA262-08D4-41D9-8791-62FB9E3D495E}" dt="2023-10-14T04:14:08.081" v="1786" actId="1076"/>
          <ac:picMkLst>
            <pc:docMk/>
            <pc:sldMk cId="3502239725" sldId="300"/>
            <ac:picMk id="18" creationId="{45A30758-0C4D-58E4-FE32-F12C2B625B13}"/>
          </ac:picMkLst>
        </pc:picChg>
        <pc:picChg chg="add mod">
          <ac:chgData name="Altynay Arapova" userId="f3af597a-fcff-4574-b6bf-ad432273a486" providerId="ADAL" clId="{F08CA262-08D4-41D9-8791-62FB9E3D495E}" dt="2023-10-14T04:14:03.330" v="1784" actId="1076"/>
          <ac:picMkLst>
            <pc:docMk/>
            <pc:sldMk cId="3502239725" sldId="300"/>
            <ac:picMk id="19" creationId="{25A849A0-33F0-2CB4-7518-D39B6C07BE37}"/>
          </ac:picMkLst>
        </pc:picChg>
        <pc:picChg chg="add mod">
          <ac:chgData name="Altynay Arapova" userId="f3af597a-fcff-4574-b6bf-ad432273a486" providerId="ADAL" clId="{F08CA262-08D4-41D9-8791-62FB9E3D495E}" dt="2023-10-14T04:14:15.241" v="1787" actId="1076"/>
          <ac:picMkLst>
            <pc:docMk/>
            <pc:sldMk cId="3502239725" sldId="300"/>
            <ac:picMk id="20" creationId="{B961E2F6-38E0-FE6C-DD94-C2CABAE5287F}"/>
          </ac:picMkLst>
        </pc:picChg>
        <pc:picChg chg="add mod">
          <ac:chgData name="Altynay Arapova" userId="f3af597a-fcff-4574-b6bf-ad432273a486" providerId="ADAL" clId="{F08CA262-08D4-41D9-8791-62FB9E3D495E}" dt="2023-10-14T04:14:05.294" v="1785" actId="1076"/>
          <ac:picMkLst>
            <pc:docMk/>
            <pc:sldMk cId="3502239725" sldId="300"/>
            <ac:picMk id="23" creationId="{74077E1F-8C77-26F2-6A80-1CF0115C5433}"/>
          </ac:picMkLst>
        </pc:picChg>
        <pc:picChg chg="add del mod">
          <ac:chgData name="Altynay Arapova" userId="f3af597a-fcff-4574-b6bf-ad432273a486" providerId="ADAL" clId="{F08CA262-08D4-41D9-8791-62FB9E3D495E}" dt="2023-10-14T04:14:16.675" v="1789" actId="478"/>
          <ac:picMkLst>
            <pc:docMk/>
            <pc:sldMk cId="3502239725" sldId="300"/>
            <ac:picMk id="24" creationId="{F52CE31C-5095-BB37-94C7-B9EB527AD64B}"/>
          </ac:picMkLst>
        </pc:picChg>
        <pc:picChg chg="del">
          <ac:chgData name="Altynay Arapova" userId="f3af597a-fcff-4574-b6bf-ad432273a486" providerId="ADAL" clId="{F08CA262-08D4-41D9-8791-62FB9E3D495E}" dt="2023-10-14T04:09:33.910" v="1703" actId="478"/>
          <ac:picMkLst>
            <pc:docMk/>
            <pc:sldMk cId="3502239725" sldId="300"/>
            <ac:picMk id="28" creationId="{D11689D5-1943-F67F-51F6-37F990706355}"/>
          </ac:picMkLst>
        </pc:picChg>
        <pc:picChg chg="del">
          <ac:chgData name="Altynay Arapova" userId="f3af597a-fcff-4574-b6bf-ad432273a486" providerId="ADAL" clId="{F08CA262-08D4-41D9-8791-62FB9E3D495E}" dt="2023-10-14T04:09:33.910" v="1703" actId="478"/>
          <ac:picMkLst>
            <pc:docMk/>
            <pc:sldMk cId="3502239725" sldId="300"/>
            <ac:picMk id="30" creationId="{DC98A97E-9960-C63F-CB89-07216E482237}"/>
          </ac:picMkLst>
        </pc:picChg>
        <pc:picChg chg="del">
          <ac:chgData name="Altynay Arapova" userId="f3af597a-fcff-4574-b6bf-ad432273a486" providerId="ADAL" clId="{F08CA262-08D4-41D9-8791-62FB9E3D495E}" dt="2023-10-14T04:09:33.910" v="1703" actId="478"/>
          <ac:picMkLst>
            <pc:docMk/>
            <pc:sldMk cId="3502239725" sldId="300"/>
            <ac:picMk id="32" creationId="{BEA0F268-1A46-E3DB-CA74-8473F3BE1468}"/>
          </ac:picMkLst>
        </pc:picChg>
      </pc:sldChg>
      <pc:sldMasterChg chg="addSp delSp modSp mod">
        <pc:chgData name="Altynay Arapova" userId="f3af597a-fcff-4574-b6bf-ad432273a486" providerId="ADAL" clId="{F08CA262-08D4-41D9-8791-62FB9E3D495E}" dt="2023-10-14T03:17:34.354" v="54"/>
        <pc:sldMasterMkLst>
          <pc:docMk/>
          <pc:sldMasterMk cId="3667254674" sldId="2147483648"/>
        </pc:sldMasterMkLst>
        <pc:spChg chg="mod">
          <ac:chgData name="Altynay Arapova" userId="f3af597a-fcff-4574-b6bf-ad432273a486" providerId="ADAL" clId="{F08CA262-08D4-41D9-8791-62FB9E3D495E}" dt="2023-10-14T03:17:33.974" v="1" actId="948"/>
          <ac:spMkLst>
            <pc:docMk/>
            <pc:sldMasterMk cId="3667254674" sldId="2147483648"/>
            <ac:spMk id="2" creationId="{67EE0FF2-8560-9049-D37F-84A599992228}"/>
          </ac:spMkLst>
        </pc:spChg>
        <pc:spChg chg="add del mod modVis">
          <ac:chgData name="Altynay Arapova" userId="f3af597a-fcff-4574-b6bf-ad432273a486" providerId="ADAL" clId="{F08CA262-08D4-41D9-8791-62FB9E3D495E}" dt="2023-10-14T03:17:34.269" v="39"/>
          <ac:spMkLst>
            <pc:docMk/>
            <pc:sldMasterMk cId="3667254674" sldId="2147483648"/>
            <ac:spMk id="9" creationId="{D43BFB6A-EF2D-4AAD-DF0E-7A10731B4F5F}"/>
          </ac:spMkLst>
        </pc:spChg>
        <pc:graphicFrameChg chg="add mod ord modVis replST">
          <ac:chgData name="Altynay Arapova" userId="f3af597a-fcff-4574-b6bf-ad432273a486" providerId="ADAL" clId="{F08CA262-08D4-41D9-8791-62FB9E3D495E}" dt="2023-10-14T03:17:34.354" v="54"/>
          <ac:graphicFrameMkLst>
            <pc:docMk/>
            <pc:sldMasterMk cId="3667254674" sldId="2147483648"/>
            <ac:graphicFrameMk id="10" creationId="{29E78A73-D5EA-AC54-FA24-830A03CEFC5E}"/>
          </ac:graphicFrameMkLst>
        </pc:graphicFrameChg>
      </pc:sldMasterChg>
    </pc:docChg>
  </pc:docChgLst>
  <pc:docChgLst>
    <pc:chgData name="Xinglan Hu" userId="S::xinglanhu@adb.org::61035392-b8e6-43fa-b39d-a05287957c90" providerId="AD" clId="Web-{DA378487-81E9-DF94-BF1B-95626DDA5767}"/>
    <pc:docChg chg="modSld">
      <pc:chgData name="Xinglan Hu" userId="S::xinglanhu@adb.org::61035392-b8e6-43fa-b39d-a05287957c90" providerId="AD" clId="Web-{DA378487-81E9-DF94-BF1B-95626DDA5767}" dt="2023-10-10T07:33:25.728" v="1" actId="20577"/>
      <pc:docMkLst>
        <pc:docMk/>
      </pc:docMkLst>
      <pc:sldChg chg="modSp">
        <pc:chgData name="Xinglan Hu" userId="S::xinglanhu@adb.org::61035392-b8e6-43fa-b39d-a05287957c90" providerId="AD" clId="Web-{DA378487-81E9-DF94-BF1B-95626DDA5767}" dt="2023-10-10T07:33:25.728" v="1" actId="20577"/>
        <pc:sldMkLst>
          <pc:docMk/>
          <pc:sldMk cId="3698261617" sldId="292"/>
        </pc:sldMkLst>
        <pc:spChg chg="mod">
          <ac:chgData name="Xinglan Hu" userId="S::xinglanhu@adb.org::61035392-b8e6-43fa-b39d-a05287957c90" providerId="AD" clId="Web-{DA378487-81E9-DF94-BF1B-95626DDA5767}" dt="2023-10-10T07:33:25.728" v="1" actId="20577"/>
          <ac:spMkLst>
            <pc:docMk/>
            <pc:sldMk cId="3698261617" sldId="292"/>
            <ac:spMk id="3" creationId="{4F4E2188-CE72-F3A0-FB2A-C41B96F82F68}"/>
          </ac:spMkLst>
        </pc:spChg>
      </pc:sldChg>
    </pc:docChg>
  </pc:docChgLst>
  <pc:docChgLst>
    <pc:chgData name="Lyaziza G. Sabyrova" userId="ae7fddb7-c893-4522-97e0-04a09d283929" providerId="ADAL" clId="{25460316-DF29-4713-8200-3A41A257EF7A}"/>
    <pc:docChg chg="custSel modSld">
      <pc:chgData name="Lyaziza G. Sabyrova" userId="ae7fddb7-c893-4522-97e0-04a09d283929" providerId="ADAL" clId="{25460316-DF29-4713-8200-3A41A257EF7A}" dt="2023-10-14T08:24:51.068" v="35" actId="14100"/>
      <pc:docMkLst>
        <pc:docMk/>
      </pc:docMkLst>
      <pc:sldChg chg="modSp mod">
        <pc:chgData name="Lyaziza G. Sabyrova" userId="ae7fddb7-c893-4522-97e0-04a09d283929" providerId="ADAL" clId="{25460316-DF29-4713-8200-3A41A257EF7A}" dt="2023-10-14T01:44:02.643" v="14" actId="113"/>
        <pc:sldMkLst>
          <pc:docMk/>
          <pc:sldMk cId="216447152" sldId="288"/>
        </pc:sldMkLst>
        <pc:graphicFrameChg chg="mod modGraphic">
          <ac:chgData name="Lyaziza G. Sabyrova" userId="ae7fddb7-c893-4522-97e0-04a09d283929" providerId="ADAL" clId="{25460316-DF29-4713-8200-3A41A257EF7A}" dt="2023-10-14T01:44:02.643" v="14" actId="113"/>
          <ac:graphicFrameMkLst>
            <pc:docMk/>
            <pc:sldMk cId="216447152" sldId="288"/>
            <ac:graphicFrameMk id="6" creationId="{52A1C188-50B9-2822-D834-CCE9DCAF4015}"/>
          </ac:graphicFrameMkLst>
        </pc:graphicFrameChg>
      </pc:sldChg>
      <pc:sldChg chg="modSp mod">
        <pc:chgData name="Lyaziza G. Sabyrova" userId="ae7fddb7-c893-4522-97e0-04a09d283929" providerId="ADAL" clId="{25460316-DF29-4713-8200-3A41A257EF7A}" dt="2023-10-14T08:22:18.806" v="17" actId="14100"/>
        <pc:sldMkLst>
          <pc:docMk/>
          <pc:sldMk cId="4003325401" sldId="294"/>
        </pc:sldMkLst>
        <pc:spChg chg="mod">
          <ac:chgData name="Lyaziza G. Sabyrova" userId="ae7fddb7-c893-4522-97e0-04a09d283929" providerId="ADAL" clId="{25460316-DF29-4713-8200-3A41A257EF7A}" dt="2023-10-14T08:22:18.806" v="17" actId="14100"/>
          <ac:spMkLst>
            <pc:docMk/>
            <pc:sldMk cId="4003325401" sldId="294"/>
            <ac:spMk id="33" creationId="{2692C62E-9B39-63B8-1132-428D3F3F10DE}"/>
          </ac:spMkLst>
        </pc:spChg>
      </pc:sldChg>
      <pc:sldChg chg="modSp mod">
        <pc:chgData name="Lyaziza G. Sabyrova" userId="ae7fddb7-c893-4522-97e0-04a09d283929" providerId="ADAL" clId="{25460316-DF29-4713-8200-3A41A257EF7A}" dt="2023-10-14T08:21:50.471" v="15" actId="255"/>
        <pc:sldMkLst>
          <pc:docMk/>
          <pc:sldMk cId="541113160" sldId="295"/>
        </pc:sldMkLst>
        <pc:spChg chg="mod">
          <ac:chgData name="Lyaziza G. Sabyrova" userId="ae7fddb7-c893-4522-97e0-04a09d283929" providerId="ADAL" clId="{25460316-DF29-4713-8200-3A41A257EF7A}" dt="2023-10-14T08:21:50.471" v="15" actId="255"/>
          <ac:spMkLst>
            <pc:docMk/>
            <pc:sldMk cId="541113160" sldId="295"/>
            <ac:spMk id="11" creationId="{9AB18A0B-D2D1-91D3-DF4A-9506D5109059}"/>
          </ac:spMkLst>
        </pc:spChg>
      </pc:sldChg>
      <pc:sldChg chg="modSp mod">
        <pc:chgData name="Lyaziza G. Sabyrova" userId="ae7fddb7-c893-4522-97e0-04a09d283929" providerId="ADAL" clId="{25460316-DF29-4713-8200-3A41A257EF7A}" dt="2023-10-14T08:23:59.712" v="28" actId="14100"/>
        <pc:sldMkLst>
          <pc:docMk/>
          <pc:sldMk cId="412158556" sldId="298"/>
        </pc:sldMkLst>
        <pc:spChg chg="mod">
          <ac:chgData name="Lyaziza G. Sabyrova" userId="ae7fddb7-c893-4522-97e0-04a09d283929" providerId="ADAL" clId="{25460316-DF29-4713-8200-3A41A257EF7A}" dt="2023-10-14T08:23:26.594" v="21" actId="27636"/>
          <ac:spMkLst>
            <pc:docMk/>
            <pc:sldMk cId="412158556" sldId="298"/>
            <ac:spMk id="17" creationId="{6F0ABB95-227F-708A-C8F0-0E1C6229EF5F}"/>
          </ac:spMkLst>
        </pc:spChg>
        <pc:spChg chg="mod">
          <ac:chgData name="Lyaziza G. Sabyrova" userId="ae7fddb7-c893-4522-97e0-04a09d283929" providerId="ADAL" clId="{25460316-DF29-4713-8200-3A41A257EF7A}" dt="2023-10-14T08:23:29.718" v="22" actId="14100"/>
          <ac:spMkLst>
            <pc:docMk/>
            <pc:sldMk cId="412158556" sldId="298"/>
            <ac:spMk id="21" creationId="{F6C22850-FEBA-2936-9186-420BA9D05A1D}"/>
          </ac:spMkLst>
        </pc:spChg>
        <pc:spChg chg="mod">
          <ac:chgData name="Lyaziza G. Sabyrova" userId="ae7fddb7-c893-4522-97e0-04a09d283929" providerId="ADAL" clId="{25460316-DF29-4713-8200-3A41A257EF7A}" dt="2023-10-14T08:23:59.712" v="28" actId="14100"/>
          <ac:spMkLst>
            <pc:docMk/>
            <pc:sldMk cId="412158556" sldId="298"/>
            <ac:spMk id="22" creationId="{0C306526-B936-5495-7646-B7394AF1397B}"/>
          </ac:spMkLst>
        </pc:spChg>
        <pc:picChg chg="mod">
          <ac:chgData name="Lyaziza G. Sabyrova" userId="ae7fddb7-c893-4522-97e0-04a09d283929" providerId="ADAL" clId="{25460316-DF29-4713-8200-3A41A257EF7A}" dt="2023-10-14T08:23:53.952" v="27" actId="1076"/>
          <ac:picMkLst>
            <pc:docMk/>
            <pc:sldMk cId="412158556" sldId="298"/>
            <ac:picMk id="32" creationId="{BEA0F268-1A46-E3DB-CA74-8473F3BE1468}"/>
          </ac:picMkLst>
        </pc:picChg>
      </pc:sldChg>
      <pc:sldChg chg="modSp mod">
        <pc:chgData name="Lyaziza G. Sabyrova" userId="ae7fddb7-c893-4522-97e0-04a09d283929" providerId="ADAL" clId="{25460316-DF29-4713-8200-3A41A257EF7A}" dt="2023-10-14T08:24:51.068" v="35" actId="14100"/>
        <pc:sldMkLst>
          <pc:docMk/>
          <pc:sldMk cId="3502239725" sldId="300"/>
        </pc:sldMkLst>
        <pc:spChg chg="mod">
          <ac:chgData name="Lyaziza G. Sabyrova" userId="ae7fddb7-c893-4522-97e0-04a09d283929" providerId="ADAL" clId="{25460316-DF29-4713-8200-3A41A257EF7A}" dt="2023-10-14T08:24:51.068" v="35" actId="14100"/>
          <ac:spMkLst>
            <pc:docMk/>
            <pc:sldMk cId="3502239725" sldId="300"/>
            <ac:spMk id="5" creationId="{20B30706-CF35-0C10-96AB-03485E0410D7}"/>
          </ac:spMkLst>
        </pc:spChg>
        <pc:spChg chg="mod">
          <ac:chgData name="Lyaziza G. Sabyrova" userId="ae7fddb7-c893-4522-97e0-04a09d283929" providerId="ADAL" clId="{25460316-DF29-4713-8200-3A41A257EF7A}" dt="2023-10-14T08:24:43.070" v="34" actId="14100"/>
          <ac:spMkLst>
            <pc:docMk/>
            <pc:sldMk cId="3502239725" sldId="300"/>
            <ac:spMk id="17" creationId="{6F0ABB95-227F-708A-C8F0-0E1C6229EF5F}"/>
          </ac:spMkLst>
        </pc:spChg>
        <pc:spChg chg="mod">
          <ac:chgData name="Lyaziza G. Sabyrova" userId="ae7fddb7-c893-4522-97e0-04a09d283929" providerId="ADAL" clId="{25460316-DF29-4713-8200-3A41A257EF7A}" dt="2023-10-14T08:24:39.682" v="33" actId="1076"/>
          <ac:spMkLst>
            <pc:docMk/>
            <pc:sldMk cId="3502239725" sldId="300"/>
            <ac:spMk id="27" creationId="{26D5FFBF-0595-3F69-F46A-4DBABE1890CA}"/>
          </ac:spMkLst>
        </pc:spChg>
      </pc:sldChg>
    </pc:docChg>
  </pc:docChgLst>
  <pc:docChgLst>
    <pc:chgData name="Xinglan Hu" userId="S::xinglanhu@adb.org::61035392-b8e6-43fa-b39d-a05287957c90" providerId="AD" clId="Web-{FE4B872C-FB16-CCDB-E35A-F35E331F18A9}"/>
    <pc:docChg chg="modSld sldOrd">
      <pc:chgData name="Xinglan Hu" userId="S::xinglanhu@adb.org::61035392-b8e6-43fa-b39d-a05287957c90" providerId="AD" clId="Web-{FE4B872C-FB16-CCDB-E35A-F35E331F18A9}" dt="2023-10-16T07:33:32.928" v="209" actId="20577"/>
      <pc:docMkLst>
        <pc:docMk/>
      </pc:docMkLst>
      <pc:sldChg chg="modSp">
        <pc:chgData name="Xinglan Hu" userId="S::xinglanhu@adb.org::61035392-b8e6-43fa-b39d-a05287957c90" providerId="AD" clId="Web-{FE4B872C-FB16-CCDB-E35A-F35E331F18A9}" dt="2023-10-16T07:29:35.078" v="184" actId="20577"/>
        <pc:sldMkLst>
          <pc:docMk/>
          <pc:sldMk cId="1714557018" sldId="256"/>
        </pc:sldMkLst>
        <pc:spChg chg="mod">
          <ac:chgData name="Xinglan Hu" userId="S::xinglanhu@adb.org::61035392-b8e6-43fa-b39d-a05287957c90" providerId="AD" clId="Web-{FE4B872C-FB16-CCDB-E35A-F35E331F18A9}" dt="2023-10-16T07:29:35.078" v="184" actId="20577"/>
          <ac:spMkLst>
            <pc:docMk/>
            <pc:sldMk cId="1714557018" sldId="256"/>
            <ac:spMk id="2" creationId="{7606ECCD-D7E4-91F6-1669-78752983AD2F}"/>
          </ac:spMkLst>
        </pc:spChg>
        <pc:spChg chg="mod">
          <ac:chgData name="Xinglan Hu" userId="S::xinglanhu@adb.org::61035392-b8e6-43fa-b39d-a05287957c90" providerId="AD" clId="Web-{FE4B872C-FB16-CCDB-E35A-F35E331F18A9}" dt="2023-10-16T07:18:20.465" v="7" actId="20577"/>
          <ac:spMkLst>
            <pc:docMk/>
            <pc:sldMk cId="1714557018" sldId="256"/>
            <ac:spMk id="3" creationId="{F9D5B5D1-37C4-3302-5037-C57AF5D1629D}"/>
          </ac:spMkLst>
        </pc:spChg>
      </pc:sldChg>
      <pc:sldChg chg="modSp">
        <pc:chgData name="Xinglan Hu" userId="S::xinglanhu@adb.org::61035392-b8e6-43fa-b39d-a05287957c90" providerId="AD" clId="Web-{FE4B872C-FB16-CCDB-E35A-F35E331F18A9}" dt="2023-10-16T07:33:32.928" v="209" actId="20577"/>
        <pc:sldMkLst>
          <pc:docMk/>
          <pc:sldMk cId="541113160" sldId="295"/>
        </pc:sldMkLst>
        <pc:spChg chg="mod">
          <ac:chgData name="Xinglan Hu" userId="S::xinglanhu@adb.org::61035392-b8e6-43fa-b39d-a05287957c90" providerId="AD" clId="Web-{FE4B872C-FB16-CCDB-E35A-F35E331F18A9}" dt="2023-10-16T07:33:32.928" v="209" actId="20577"/>
          <ac:spMkLst>
            <pc:docMk/>
            <pc:sldMk cId="541113160" sldId="295"/>
            <ac:spMk id="11" creationId="{9AB18A0B-D2D1-91D3-DF4A-9506D5109059}"/>
          </ac:spMkLst>
        </pc:spChg>
      </pc:sldChg>
      <pc:sldChg chg="modSp">
        <pc:chgData name="Xinglan Hu" userId="S::xinglanhu@adb.org::61035392-b8e6-43fa-b39d-a05287957c90" providerId="AD" clId="Web-{FE4B872C-FB16-CCDB-E35A-F35E331F18A9}" dt="2023-10-16T07:32:54.896" v="206" actId="20577"/>
        <pc:sldMkLst>
          <pc:docMk/>
          <pc:sldMk cId="3845602710" sldId="296"/>
        </pc:sldMkLst>
        <pc:spChg chg="mod">
          <ac:chgData name="Xinglan Hu" userId="S::xinglanhu@adb.org::61035392-b8e6-43fa-b39d-a05287957c90" providerId="AD" clId="Web-{FE4B872C-FB16-CCDB-E35A-F35E331F18A9}" dt="2023-10-16T07:32:54.896" v="206" actId="20577"/>
          <ac:spMkLst>
            <pc:docMk/>
            <pc:sldMk cId="3845602710" sldId="296"/>
            <ac:spMk id="17" creationId="{6F0ABB95-227F-708A-C8F0-0E1C6229EF5F}"/>
          </ac:spMkLst>
        </pc:spChg>
      </pc:sldChg>
      <pc:sldChg chg="modSp">
        <pc:chgData name="Xinglan Hu" userId="S::xinglanhu@adb.org::61035392-b8e6-43fa-b39d-a05287957c90" providerId="AD" clId="Web-{FE4B872C-FB16-CCDB-E35A-F35E331F18A9}" dt="2023-10-16T07:19:36.077" v="10" actId="20577"/>
        <pc:sldMkLst>
          <pc:docMk/>
          <pc:sldMk cId="412158556" sldId="298"/>
        </pc:sldMkLst>
        <pc:spChg chg="mod">
          <ac:chgData name="Xinglan Hu" userId="S::xinglanhu@adb.org::61035392-b8e6-43fa-b39d-a05287957c90" providerId="AD" clId="Web-{FE4B872C-FB16-CCDB-E35A-F35E331F18A9}" dt="2023-10-16T07:19:36.077" v="10" actId="20577"/>
          <ac:spMkLst>
            <pc:docMk/>
            <pc:sldMk cId="412158556" sldId="298"/>
            <ac:spMk id="17" creationId="{6F0ABB95-227F-708A-C8F0-0E1C6229EF5F}"/>
          </ac:spMkLst>
        </pc:spChg>
      </pc:sldChg>
      <pc:sldChg chg="modSp ord">
        <pc:chgData name="Xinglan Hu" userId="S::xinglanhu@adb.org::61035392-b8e6-43fa-b39d-a05287957c90" providerId="AD" clId="Web-{FE4B872C-FB16-CCDB-E35A-F35E331F18A9}" dt="2023-10-16T07:31:28.769" v="203" actId="14100"/>
        <pc:sldMkLst>
          <pc:docMk/>
          <pc:sldMk cId="3502239725" sldId="300"/>
        </pc:sldMkLst>
        <pc:spChg chg="mod">
          <ac:chgData name="Xinglan Hu" userId="S::xinglanhu@adb.org::61035392-b8e6-43fa-b39d-a05287957c90" providerId="AD" clId="Web-{FE4B872C-FB16-CCDB-E35A-F35E331F18A9}" dt="2023-10-16T07:27:06.167" v="167" actId="20577"/>
          <ac:spMkLst>
            <pc:docMk/>
            <pc:sldMk cId="3502239725" sldId="300"/>
            <ac:spMk id="5" creationId="{20B30706-CF35-0C10-96AB-03485E0410D7}"/>
          </ac:spMkLst>
        </pc:spChg>
        <pc:spChg chg="mod">
          <ac:chgData name="Xinglan Hu" userId="S::xinglanhu@adb.org::61035392-b8e6-43fa-b39d-a05287957c90" providerId="AD" clId="Web-{FE4B872C-FB16-CCDB-E35A-F35E331F18A9}" dt="2023-10-16T07:19:52.968" v="13" actId="20577"/>
          <ac:spMkLst>
            <pc:docMk/>
            <pc:sldMk cId="3502239725" sldId="300"/>
            <ac:spMk id="17" creationId="{6F0ABB95-227F-708A-C8F0-0E1C6229EF5F}"/>
          </ac:spMkLst>
        </pc:spChg>
        <pc:spChg chg="mod">
          <ac:chgData name="Xinglan Hu" userId="S::xinglanhu@adb.org::61035392-b8e6-43fa-b39d-a05287957c90" providerId="AD" clId="Web-{FE4B872C-FB16-CCDB-E35A-F35E331F18A9}" dt="2023-10-16T07:31:28.769" v="203" actId="14100"/>
          <ac:spMkLst>
            <pc:docMk/>
            <pc:sldMk cId="3502239725" sldId="300"/>
            <ac:spMk id="27" creationId="{26D5FFBF-0595-3F69-F46A-4DBABE1890CA}"/>
          </ac:spMkLst>
        </pc:spChg>
      </pc:sldChg>
    </pc:docChg>
  </pc:docChgLst>
  <pc:docChgLst>
    <pc:chgData name="Dorothea C. Lazaro" userId="S::dlazaro@adb.org::805b2f41-9d5e-4ff4-8a46-e4c17eaa3090" providerId="AD" clId="Web-{BB8983D3-5181-6B72-D435-D02EFD2EDDE5}"/>
    <pc:docChg chg="modSld">
      <pc:chgData name="Dorothea C. Lazaro" userId="S::dlazaro@adb.org::805b2f41-9d5e-4ff4-8a46-e4c17eaa3090" providerId="AD" clId="Web-{BB8983D3-5181-6B72-D435-D02EFD2EDDE5}" dt="2023-10-13T09:50:09.865" v="4" actId="20577"/>
      <pc:docMkLst>
        <pc:docMk/>
      </pc:docMkLst>
      <pc:sldChg chg="modSp">
        <pc:chgData name="Dorothea C. Lazaro" userId="S::dlazaro@adb.org::805b2f41-9d5e-4ff4-8a46-e4c17eaa3090" providerId="AD" clId="Web-{BB8983D3-5181-6B72-D435-D02EFD2EDDE5}" dt="2023-10-13T09:50:09.865" v="4" actId="20577"/>
        <pc:sldMkLst>
          <pc:docMk/>
          <pc:sldMk cId="3698261617" sldId="292"/>
        </pc:sldMkLst>
        <pc:spChg chg="mod">
          <ac:chgData name="Dorothea C. Lazaro" userId="S::dlazaro@adb.org::805b2f41-9d5e-4ff4-8a46-e4c17eaa3090" providerId="AD" clId="Web-{BB8983D3-5181-6B72-D435-D02EFD2EDDE5}" dt="2023-10-13T09:50:09.865" v="4" actId="20577"/>
          <ac:spMkLst>
            <pc:docMk/>
            <pc:sldMk cId="3698261617" sldId="292"/>
            <ac:spMk id="3" creationId="{4F4E2188-CE72-F3A0-FB2A-C41B96F82F68}"/>
          </ac:spMkLst>
        </pc:spChg>
      </pc:sldChg>
    </pc:docChg>
  </pc:docChgLst>
  <pc:docChgLst>
    <pc:chgData name="Carmela C. Espina" userId="4ebb9680-d155-47f2-b2e1-fe33e604b101" providerId="ADAL" clId="{BCF66F05-2AF8-4D1F-95A2-0A9C57BE3888}"/>
    <pc:docChg chg="custSel modSld">
      <pc:chgData name="Carmela C. Espina" userId="4ebb9680-d155-47f2-b2e1-fe33e604b101" providerId="ADAL" clId="{BCF66F05-2AF8-4D1F-95A2-0A9C57BE3888}" dt="2023-10-16T00:51:17.182" v="159" actId="6549"/>
      <pc:docMkLst>
        <pc:docMk/>
      </pc:docMkLst>
      <pc:sldChg chg="modSp mod">
        <pc:chgData name="Carmela C. Espina" userId="4ebb9680-d155-47f2-b2e1-fe33e604b101" providerId="ADAL" clId="{BCF66F05-2AF8-4D1F-95A2-0A9C57BE3888}" dt="2023-10-15T23:46:00.791" v="85" actId="20577"/>
        <pc:sldMkLst>
          <pc:docMk/>
          <pc:sldMk cId="1714557018" sldId="256"/>
        </pc:sldMkLst>
        <pc:spChg chg="mod">
          <ac:chgData name="Carmela C. Espina" userId="4ebb9680-d155-47f2-b2e1-fe33e604b101" providerId="ADAL" clId="{BCF66F05-2AF8-4D1F-95A2-0A9C57BE3888}" dt="2023-10-15T23:46:00.791" v="85" actId="20577"/>
          <ac:spMkLst>
            <pc:docMk/>
            <pc:sldMk cId="1714557018" sldId="256"/>
            <ac:spMk id="2" creationId="{7606ECCD-D7E4-91F6-1669-78752983AD2F}"/>
          </ac:spMkLst>
        </pc:spChg>
        <pc:spChg chg="mod">
          <ac:chgData name="Carmela C. Espina" userId="4ebb9680-d155-47f2-b2e1-fe33e604b101" providerId="ADAL" clId="{BCF66F05-2AF8-4D1F-95A2-0A9C57BE3888}" dt="2023-10-13T02:42:16.304" v="47" actId="20577"/>
          <ac:spMkLst>
            <pc:docMk/>
            <pc:sldMk cId="1714557018" sldId="256"/>
            <ac:spMk id="3" creationId="{F9D5B5D1-37C4-3302-5037-C57AF5D1629D}"/>
          </ac:spMkLst>
        </pc:spChg>
      </pc:sldChg>
      <pc:sldChg chg="modSp mod">
        <pc:chgData name="Carmela C. Espina" userId="4ebb9680-d155-47f2-b2e1-fe33e604b101" providerId="ADAL" clId="{BCF66F05-2AF8-4D1F-95A2-0A9C57BE3888}" dt="2023-10-13T02:45:18.518" v="68" actId="20577"/>
        <pc:sldMkLst>
          <pc:docMk/>
          <pc:sldMk cId="2926179191" sldId="289"/>
        </pc:sldMkLst>
        <pc:spChg chg="mod">
          <ac:chgData name="Carmela C. Espina" userId="4ebb9680-d155-47f2-b2e1-fe33e604b101" providerId="ADAL" clId="{BCF66F05-2AF8-4D1F-95A2-0A9C57BE3888}" dt="2023-10-13T02:45:18.518" v="68" actId="20577"/>
          <ac:spMkLst>
            <pc:docMk/>
            <pc:sldMk cId="2926179191" sldId="289"/>
            <ac:spMk id="3" creationId="{4E67AF58-0919-2235-79DF-741507EE1E9E}"/>
          </ac:spMkLst>
        </pc:spChg>
      </pc:sldChg>
      <pc:sldChg chg="modSp mod">
        <pc:chgData name="Carmela C. Espina" userId="4ebb9680-d155-47f2-b2e1-fe33e604b101" providerId="ADAL" clId="{BCF66F05-2AF8-4D1F-95A2-0A9C57BE3888}" dt="2023-10-13T02:46:35.529" v="69" actId="20577"/>
        <pc:sldMkLst>
          <pc:docMk/>
          <pc:sldMk cId="3774796691" sldId="291"/>
        </pc:sldMkLst>
        <pc:spChg chg="mod">
          <ac:chgData name="Carmela C. Espina" userId="4ebb9680-d155-47f2-b2e1-fe33e604b101" providerId="ADAL" clId="{BCF66F05-2AF8-4D1F-95A2-0A9C57BE3888}" dt="2023-10-13T02:43:39.675" v="56" actId="6549"/>
          <ac:spMkLst>
            <pc:docMk/>
            <pc:sldMk cId="3774796691" sldId="291"/>
            <ac:spMk id="2" creationId="{75B57133-D24E-EA29-6F4D-727EB1FDF4B0}"/>
          </ac:spMkLst>
        </pc:spChg>
        <pc:spChg chg="mod">
          <ac:chgData name="Carmela C. Espina" userId="4ebb9680-d155-47f2-b2e1-fe33e604b101" providerId="ADAL" clId="{BCF66F05-2AF8-4D1F-95A2-0A9C57BE3888}" dt="2023-10-13T02:46:35.529" v="69" actId="20577"/>
          <ac:spMkLst>
            <pc:docMk/>
            <pc:sldMk cId="3774796691" sldId="291"/>
            <ac:spMk id="10" creationId="{82C79F33-D020-3B33-3853-A2C748E00CA7}"/>
          </ac:spMkLst>
        </pc:spChg>
      </pc:sldChg>
      <pc:sldChg chg="delSp modSp mod">
        <pc:chgData name="Carmela C. Espina" userId="4ebb9680-d155-47f2-b2e1-fe33e604b101" providerId="ADAL" clId="{BCF66F05-2AF8-4D1F-95A2-0A9C57BE3888}" dt="2023-10-16T00:45:51.067" v="93" actId="478"/>
        <pc:sldMkLst>
          <pc:docMk/>
          <pc:sldMk cId="541113160" sldId="295"/>
        </pc:sldMkLst>
        <pc:spChg chg="del">
          <ac:chgData name="Carmela C. Espina" userId="4ebb9680-d155-47f2-b2e1-fe33e604b101" providerId="ADAL" clId="{BCF66F05-2AF8-4D1F-95A2-0A9C57BE3888}" dt="2023-10-16T00:45:51.067" v="93" actId="478"/>
          <ac:spMkLst>
            <pc:docMk/>
            <pc:sldMk cId="541113160" sldId="295"/>
            <ac:spMk id="4" creationId="{02836162-63B4-4C74-222D-DF432326D845}"/>
          </ac:spMkLst>
        </pc:spChg>
        <pc:spChg chg="mod">
          <ac:chgData name="Carmela C. Espina" userId="4ebb9680-d155-47f2-b2e1-fe33e604b101" providerId="ADAL" clId="{BCF66F05-2AF8-4D1F-95A2-0A9C57BE3888}" dt="2023-10-15T23:44:13.590" v="80" actId="20577"/>
          <ac:spMkLst>
            <pc:docMk/>
            <pc:sldMk cId="541113160" sldId="295"/>
            <ac:spMk id="8" creationId="{07E65403-B6FF-4104-D83E-948D156A4E3C}"/>
          </ac:spMkLst>
        </pc:spChg>
        <pc:spChg chg="mod">
          <ac:chgData name="Carmela C. Espina" userId="4ebb9680-d155-47f2-b2e1-fe33e604b101" providerId="ADAL" clId="{BCF66F05-2AF8-4D1F-95A2-0A9C57BE3888}" dt="2023-10-16T00:45:44.825" v="92" actId="14100"/>
          <ac:spMkLst>
            <pc:docMk/>
            <pc:sldMk cId="541113160" sldId="295"/>
            <ac:spMk id="11" creationId="{9AB18A0B-D2D1-91D3-DF4A-9506D5109059}"/>
          </ac:spMkLst>
        </pc:spChg>
      </pc:sldChg>
      <pc:sldChg chg="modSp mod">
        <pc:chgData name="Carmela C. Espina" userId="4ebb9680-d155-47f2-b2e1-fe33e604b101" providerId="ADAL" clId="{BCF66F05-2AF8-4D1F-95A2-0A9C57BE3888}" dt="2023-10-16T00:47:13.277" v="129" actId="14100"/>
        <pc:sldMkLst>
          <pc:docMk/>
          <pc:sldMk cId="412158556" sldId="298"/>
        </pc:sldMkLst>
        <pc:spChg chg="mod">
          <ac:chgData name="Carmela C. Espina" userId="4ebb9680-d155-47f2-b2e1-fe33e604b101" providerId="ADAL" clId="{BCF66F05-2AF8-4D1F-95A2-0A9C57BE3888}" dt="2023-10-16T00:46:30.768" v="115" actId="20577"/>
          <ac:spMkLst>
            <pc:docMk/>
            <pc:sldMk cId="412158556" sldId="298"/>
            <ac:spMk id="21" creationId="{F6C22850-FEBA-2936-9186-420BA9D05A1D}"/>
          </ac:spMkLst>
        </pc:spChg>
        <pc:spChg chg="mod">
          <ac:chgData name="Carmela C. Espina" userId="4ebb9680-d155-47f2-b2e1-fe33e604b101" providerId="ADAL" clId="{BCF66F05-2AF8-4D1F-95A2-0A9C57BE3888}" dt="2023-10-16T00:47:13.277" v="129" actId="14100"/>
          <ac:spMkLst>
            <pc:docMk/>
            <pc:sldMk cId="412158556" sldId="298"/>
            <ac:spMk id="22" creationId="{0C306526-B936-5495-7646-B7394AF1397B}"/>
          </ac:spMkLst>
        </pc:spChg>
      </pc:sldChg>
      <pc:sldChg chg="modSp mod">
        <pc:chgData name="Carmela C. Espina" userId="4ebb9680-d155-47f2-b2e1-fe33e604b101" providerId="ADAL" clId="{BCF66F05-2AF8-4D1F-95A2-0A9C57BE3888}" dt="2023-10-16T00:51:17.182" v="159" actId="6549"/>
        <pc:sldMkLst>
          <pc:docMk/>
          <pc:sldMk cId="3502239725" sldId="300"/>
        </pc:sldMkLst>
        <pc:spChg chg="mod">
          <ac:chgData name="Carmela C. Espina" userId="4ebb9680-d155-47f2-b2e1-fe33e604b101" providerId="ADAL" clId="{BCF66F05-2AF8-4D1F-95A2-0A9C57BE3888}" dt="2023-10-16T00:51:17.182" v="159" actId="6549"/>
          <ac:spMkLst>
            <pc:docMk/>
            <pc:sldMk cId="3502239725" sldId="300"/>
            <ac:spMk id="5" creationId="{20B30706-CF35-0C10-96AB-03485E0410D7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298C90-1C41-4D12-A5A5-42781F7C8992}" type="datetimeFigureOut">
              <a:rPr lang="en-US" smtClean="0"/>
              <a:t>17/1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732AF4-D90B-435C-A8DE-85A195A583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0399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88774B-C016-0615-170C-DDE6831D43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3E9901F-8EC6-D157-67B5-BC4370D8DD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1ADEA7-5C00-3740-20D7-79F4E7A060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0C4D27-6936-454D-B7AA-9406196C7A21}" type="datetime3">
              <a:rPr lang="en-US" smtClean="0"/>
              <a:t>17 October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6EBFF9-87E5-C1EE-296B-76B8205361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C08D07-96CE-BF30-5DC1-712B7C948C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6905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E8FA6C-594B-D57E-62E9-6B9D02DA38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84E4A5E-EC7D-995F-C106-27BCF125CD9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E264C4-24E9-379F-BC7D-65F1F1F848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0B376-34C5-4D20-8A01-A21928DB3A20}" type="datetime3">
              <a:rPr lang="en-US" smtClean="0"/>
              <a:t>17 October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191778-D797-9F65-019C-A6EEAFBD07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4A69E1-C847-07D5-007B-79FA9A02E6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73025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E78D75C-99BA-AB71-16F6-2F6A619E339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8617717-9374-DC70-E025-0F8A7A4AB6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2EC3A7-D38E-300E-F1B2-0F40D001E3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C163D7-2155-4054-88D0-296BB598112C}" type="datetime3">
              <a:rPr lang="en-US" smtClean="0"/>
              <a:t>17 October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A132CD-7823-6D9C-357C-D8E5145AF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A0E0EA-DEFD-7A6B-C1D5-A4F74AE4F6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04255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F8DB57-AEE3-D6A0-5790-889BCEBDC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BEFE88-5855-511D-5085-C5751D2446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756583-2DDB-16E4-F67E-8401B22AF2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D6509-DE6D-4882-894F-4CD3224C60A6}" type="datetime3">
              <a:rPr lang="en-US" smtClean="0"/>
              <a:t>17 October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39074E-BFE2-0CB4-52EC-689C75AB2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334685-693A-ED1A-8B41-E10223F9CD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4799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4C01D5-BDE7-BB59-4E8B-32D095557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975A04-C7AE-AAC1-CD4D-8BFB62A136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EE11CA-659E-128B-F241-E3A2F2C18B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FF7CA-907C-4625-A1F2-09CB84311D5F}" type="datetime3">
              <a:rPr lang="en-US" smtClean="0"/>
              <a:t>17 October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3DF0C9-0252-AE54-7991-66619ACC9B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B79199-BF7F-BFCE-5576-37C4F90D65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0406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83F972-6FA3-11AA-BFFD-12F1BFB5D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03BAFC-7AC1-F41D-BCB8-0A761271D61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0858D54-2FF5-93A1-60C2-2379B72B58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742E2C-1641-9337-8134-F17AFD7F44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F09EA0-2CA3-4E8A-8A69-F5DE2314DEF8}" type="datetime3">
              <a:rPr lang="en-US" smtClean="0"/>
              <a:t>17 October 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6214C4E-3977-B93B-A581-8527F0FF76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ACAC20-F22F-479D-901A-E6C66F44B7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29712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E2C891-06D7-8A73-02A2-7CD36BBF61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C87C79-F1D6-6808-0CD3-5C3D0E19A8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CE44657-EE53-DE98-BF62-052351681F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4D63B12-5C6A-F70F-9CBD-A30E49935B3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129C3AD-E095-EBC7-4C49-BEE7C0DE124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056D7E0-7221-EDF8-769C-6C4F30768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EDCC79-2397-40A1-AC94-CD50A47DBC97}" type="datetime3">
              <a:rPr lang="en-US" smtClean="0"/>
              <a:t>17 October 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0356738-3534-309A-CFB1-EFC7B76A1D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5BE373A-664A-164C-9D26-74F28127F7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6911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CEB006-5416-5BA6-A01E-ACB786D662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9E220A-27D2-1FFF-EBD9-E39415CDEC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564C31-4B45-4415-B826-9261B13F08DF}" type="datetime3">
              <a:rPr lang="en-US" smtClean="0"/>
              <a:t>17 October 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665164-EDBD-F2FF-CB01-73230BF943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FE930A0-9129-0310-9454-49D48C4C04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58961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D7CA6BF-E3F5-C3C4-7387-C768C02A4B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0E5FC7-7AD9-4A97-A700-770C791A9B06}" type="datetime3">
              <a:rPr lang="en-US" smtClean="0"/>
              <a:t>17 October 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9CA89D8-293E-5944-6DF7-BFEFAC570A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853CDD-E788-B5C7-BF40-49411F4AD1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2432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9CED15-4899-2AD1-451F-6F6B11F322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549F60-50E6-E35D-8C51-02E97907BD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01DBA3-8E1D-A0B4-D97A-FB086619A9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A06284-EB7D-9695-D83E-F554E23C01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0228C3-3F9B-4F38-ACB7-DFAC9941F91A}" type="datetime3">
              <a:rPr lang="en-US" smtClean="0"/>
              <a:t>17 October 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83008A-32E7-085F-E478-834441636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5D160DD-7FA8-ECFD-985F-AFA798A7D9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03742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E054FE-85D7-03BC-444C-FE38988ADA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B9D08FE-7BD8-5D49-14A2-C1FAC1C12D9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5751DB9-BEA8-944D-931D-9B5C72C800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68948EB-21D6-68DB-3B65-A9CD07DF79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86EE28-B83F-4E5D-A2F5-6F6883813283}" type="datetime3">
              <a:rPr lang="en-US" smtClean="0"/>
              <a:t>17 October 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8784A90-38E1-1352-2D02-B1CEB17544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84B2EC-7C10-D81B-8375-A5998125C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64930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9E78A73-D5EA-AC54-FA24-830A03CEFC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26871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E78A73-D5EA-AC54-FA24-830A03CEFC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7EE0FF2-8560-9049-D37F-84A5999922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B35836-6684-C1E7-3BAE-9FE4FB4117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655FF6-38B2-DD2F-867A-1595497EE2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3EAFEC-E589-4649-A4AC-19FE2E40A69A}" type="datetime3">
              <a:rPr lang="en-US" smtClean="0"/>
              <a:t>17 October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500EF9-89B8-F9E8-0387-C6A5B4B6E6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A136B8-EE14-D0E4-6038-AED0DCAE9B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7A9A0C5-416C-A0B1-80BE-A78F942FBCE6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6720840"/>
            <a:ext cx="6127750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. This information is accessible to ADB Management and staff. It may be shared outside ADB with appropriate permission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BF9F663-3111-077D-4C35-1A1A9A935478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9082416" y="410053"/>
            <a:ext cx="2271384" cy="883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254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2.png"/><Relationship Id="rId10" Type="http://schemas.openxmlformats.org/officeDocument/2006/relationships/image" Target="../media/image11.png"/><Relationship Id="rId4" Type="http://schemas.openxmlformats.org/officeDocument/2006/relationships/image" Target="../media/image1.emf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15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F31EE38-A458-C44D-4324-77A3D97041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3799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31EE38-A458-C44D-4324-77A3D97041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1DF91F20-B96F-4F77-AC3E-2CDD3BAA10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2" y="0"/>
            <a:ext cx="1219200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3D487F7-9050-4871-B351-34A72ADB29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484" y="-1"/>
            <a:ext cx="8111296" cy="6858000"/>
          </a:xfrm>
          <a:prstGeom prst="rect">
            <a:avLst/>
          </a:prstGeom>
          <a:gradFill>
            <a:gsLst>
              <a:gs pos="8000">
                <a:srgbClr val="000000">
                  <a:alpha val="94000"/>
                </a:srgbClr>
              </a:gs>
              <a:gs pos="100000">
                <a:schemeClr val="accent1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43C27DD-EF6A-4C48-9669-C2970E71A8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858281" y="-401562"/>
            <a:ext cx="6858004" cy="7661129"/>
          </a:xfrm>
          <a:prstGeom prst="rect">
            <a:avLst/>
          </a:prstGeom>
          <a:gradFill>
            <a:gsLst>
              <a:gs pos="0">
                <a:schemeClr val="accent1">
                  <a:alpha val="23000"/>
                </a:schemeClr>
              </a:gs>
              <a:gs pos="71000">
                <a:schemeClr val="accent1">
                  <a:lumMod val="50000"/>
                  <a:alpha val="0"/>
                </a:schemeClr>
              </a:gs>
              <a:gs pos="100000">
                <a:srgbClr val="000000">
                  <a:alpha val="0"/>
                </a:srgb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84384FE-1C88-4CAA-8FB8-2313A3AE73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7519" y="-1"/>
            <a:ext cx="8118331" cy="6858000"/>
          </a:xfrm>
          <a:prstGeom prst="rect">
            <a:avLst/>
          </a:prstGeom>
          <a:gradFill>
            <a:gsLst>
              <a:gs pos="14000">
                <a:schemeClr val="accent1">
                  <a:alpha val="0"/>
                </a:schemeClr>
              </a:gs>
              <a:gs pos="100000">
                <a:srgbClr val="000000">
                  <a:alpha val="82000"/>
                </a:srgb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87B6A113-58CD-406C-BCE4-6E1F1F2BE6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5449520">
            <a:off x="2569700" y="983306"/>
            <a:ext cx="5005754" cy="5005754"/>
          </a:xfrm>
          <a:prstGeom prst="ellipse">
            <a:avLst/>
          </a:prstGeom>
          <a:gradFill>
            <a:gsLst>
              <a:gs pos="17000">
                <a:schemeClr val="accent1">
                  <a:lumMod val="75000"/>
                  <a:alpha val="0"/>
                </a:schemeClr>
              </a:gs>
              <a:gs pos="82000">
                <a:srgbClr val="000000">
                  <a:alpha val="24000"/>
                </a:srgbClr>
              </a:gs>
            </a:gsLst>
            <a:lin ang="9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6ECCD-D7E4-91F6-1669-78752983AD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6716" y="857251"/>
            <a:ext cx="7523502" cy="2130919"/>
          </a:xfrm>
        </p:spPr>
        <p:txBody>
          <a:bodyPr vert="horz" anchor="b">
            <a:normAutofit fontScale="90000"/>
          </a:bodyPr>
          <a:lstStyle/>
          <a:p>
            <a:pPr algn="l"/>
            <a:br>
              <a:rPr lang="en-US" sz="4000" b="1">
                <a:latin typeface="Century Gothic"/>
              </a:rPr>
            </a:br>
            <a:br>
              <a:rPr lang="en-US" sz="4000" b="1">
                <a:latin typeface="Century Gothic"/>
              </a:rPr>
            </a:br>
            <a:r>
              <a:rPr lang="en-US" sz="2700" b="1">
                <a:solidFill>
                  <a:srgbClr val="FFFFFF"/>
                </a:solidFill>
                <a:latin typeface="Century Gothic"/>
              </a:rPr>
              <a:t>Update on the Upcoming</a:t>
            </a:r>
            <a:br>
              <a:rPr lang="en-US" sz="4800" b="1">
                <a:latin typeface="Century Gothic" panose="020B0502020202020204" pitchFamily="34" charset="0"/>
              </a:rPr>
            </a:br>
            <a:r>
              <a:rPr lang="en-US" sz="4800" b="1">
                <a:solidFill>
                  <a:srgbClr val="FFFFFF"/>
                </a:solidFill>
                <a:latin typeface="Century Gothic"/>
              </a:rPr>
              <a:t>Energy Investment Forum</a:t>
            </a:r>
            <a:br>
              <a:rPr lang="en-US" sz="3200" b="1">
                <a:latin typeface="Century Gothic" panose="020B0502020202020204" pitchFamily="34" charset="0"/>
              </a:rPr>
            </a:br>
            <a:r>
              <a:rPr lang="en-US" sz="2700" b="1">
                <a:solidFill>
                  <a:srgbClr val="FFFFFF"/>
                </a:solidFill>
                <a:latin typeface="Century Gothic"/>
              </a:rPr>
              <a:t>Tbilisi, 28–29 November 2023</a:t>
            </a:r>
            <a:endParaRPr lang="en-US" sz="4800">
              <a:solidFill>
                <a:srgbClr val="FFFFFF"/>
              </a:solidFill>
              <a:latin typeface="Century Gothic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5A1AA86-B7E6-4C02-AA34-F1A25CD4CC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7518" y="4354178"/>
            <a:ext cx="8118330" cy="2503817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33000"/>
                </a:schemeClr>
              </a:gs>
              <a:gs pos="83000">
                <a:srgbClr val="000000">
                  <a:alpha val="21000"/>
                </a:srgb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D5B5D1-37C4-3302-5037-C57AF5D162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9313" y="4800600"/>
            <a:ext cx="6699066" cy="1200149"/>
          </a:xfrm>
        </p:spPr>
        <p:txBody>
          <a:bodyPr anchor="t">
            <a:normAutofit/>
          </a:bodyPr>
          <a:lstStyle/>
          <a:p>
            <a:pPr algn="l"/>
            <a:r>
              <a:rPr lang="en-US" sz="2000">
                <a:solidFill>
                  <a:srgbClr val="FFFFFF"/>
                </a:solidFill>
                <a:latin typeface="Century Gothic"/>
              </a:rPr>
              <a:t>Altynay </a:t>
            </a:r>
            <a:r>
              <a:rPr lang="en-US" sz="2000" err="1">
                <a:solidFill>
                  <a:srgbClr val="FFFFFF"/>
                </a:solidFill>
                <a:latin typeface="Century Gothic"/>
              </a:rPr>
              <a:t>Arapova</a:t>
            </a:r>
            <a:r>
              <a:rPr lang="en-US" sz="2000">
                <a:solidFill>
                  <a:srgbClr val="FFFFFF"/>
                </a:solidFill>
                <a:latin typeface="Century Gothic"/>
              </a:rPr>
              <a:t>, Economist, CWRD, ADB</a:t>
            </a:r>
          </a:p>
          <a:p>
            <a:pPr algn="l"/>
            <a:r>
              <a:rPr lang="en-US" sz="2000">
                <a:solidFill>
                  <a:srgbClr val="FFFFFF"/>
                </a:solidFill>
                <a:latin typeface="Century Gothic"/>
              </a:rPr>
              <a:t>aarapova@adb.org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A18AACE-39DF-F1BE-4C06-C992B97F39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84892" y="315310"/>
            <a:ext cx="2271384" cy="883919"/>
          </a:xfrm>
          <a:prstGeom prst="rect">
            <a:avLst/>
          </a:prstGeom>
        </p:spPr>
      </p:pic>
      <p:pic>
        <p:nvPicPr>
          <p:cNvPr id="4" name="Picture 3" descr="A logo with red and yellow colors&#10;&#10;Description automatically generated">
            <a:extLst>
              <a:ext uri="{FF2B5EF4-FFF2-40B4-BE49-F238E27FC236}">
                <a16:creationId xmlns:a16="http://schemas.microsoft.com/office/drawing/2014/main" id="{20B6C6AF-B77D-346A-6D06-F07FD878C0A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19531" y="4836117"/>
            <a:ext cx="2105246" cy="1956365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D52E076-B04B-0AAB-27A3-A5B093A7EC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45570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7A34EEB-7B1F-4B60-651D-8D5E2CCDF9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5347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A34EEB-7B1F-4B60-651D-8D5E2CCDF9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70F4579-B377-DE92-EEAC-AFDD44A82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104" y="136525"/>
            <a:ext cx="10515600" cy="1325563"/>
          </a:xfrm>
        </p:spPr>
        <p:txBody>
          <a:bodyPr vert="horz"/>
          <a:lstStyle/>
          <a:p>
            <a:r>
              <a:rPr lang="en-US" sz="4000" b="1" dirty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rPr>
              <a:t>Backgroun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EA47768-AF13-069E-AC72-A62E3E04CA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7297" y="1389227"/>
            <a:ext cx="5149369" cy="293394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6B431C8-E847-3118-3E7B-882015E1C7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8951" y="4323169"/>
            <a:ext cx="3234669" cy="184300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7EC9771-7545-A718-5F49-880C60C011E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14270" y="4323169"/>
            <a:ext cx="3234669" cy="1843009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7E65403-B6FF-4104-D83E-948D156A4E3C}"/>
              </a:ext>
            </a:extLst>
          </p:cNvPr>
          <p:cNvSpPr txBox="1">
            <a:spLocks/>
          </p:cNvSpPr>
          <p:nvPr/>
        </p:nvSpPr>
        <p:spPr>
          <a:xfrm>
            <a:off x="5804451" y="1385204"/>
            <a:ext cx="5932445" cy="4477115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solidFill>
                  <a:srgbClr val="0070C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CAREC Energy Investment Forum (EIF) was first organized in Islamabad in 2016. </a:t>
            </a:r>
          </a:p>
          <a:p>
            <a:r>
              <a:rPr lang="en-US" sz="2000" b="1" dirty="0">
                <a:solidFill>
                  <a:srgbClr val="0070C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bsequent EIFs were held in Astana in 2017, Batumi (Georgia) in 2018 and Tashkent in 2019. </a:t>
            </a:r>
          </a:p>
          <a:p>
            <a:r>
              <a:rPr lang="en-US" sz="2000" b="1" dirty="0">
                <a:solidFill>
                  <a:srgbClr val="0070C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ue to </a:t>
            </a:r>
            <a:r>
              <a:rPr lang="en-US" sz="2000" b="1">
                <a:solidFill>
                  <a:srgbClr val="0070C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VID-19</a:t>
            </a:r>
            <a:r>
              <a:rPr lang="en-US" sz="2000" b="1" dirty="0">
                <a:solidFill>
                  <a:srgbClr val="0070C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there were no </a:t>
            </a:r>
            <a:r>
              <a:rPr lang="en-US" sz="2000" b="1">
                <a:solidFill>
                  <a:srgbClr val="0070C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IFs</a:t>
            </a:r>
            <a:r>
              <a:rPr lang="en-US" sz="2000" b="1" dirty="0">
                <a:solidFill>
                  <a:srgbClr val="0070C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n 2020 and 2022. </a:t>
            </a:r>
          </a:p>
          <a:p>
            <a:r>
              <a:rPr lang="en-US" sz="2000" b="1" dirty="0">
                <a:solidFill>
                  <a:srgbClr val="0070C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virtual EIF was held in 2021.</a:t>
            </a:r>
          </a:p>
          <a:p>
            <a:endParaRPr lang="en-US" sz="2000" b="1" dirty="0">
              <a:latin typeface="Century Gothic" panose="020B0502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AB18A0B-D2D1-91D3-DF4A-9506D5109059}"/>
              </a:ext>
            </a:extLst>
          </p:cNvPr>
          <p:cNvSpPr txBox="1"/>
          <p:nvPr/>
        </p:nvSpPr>
        <p:spPr>
          <a:xfrm>
            <a:off x="7169589" y="4487374"/>
            <a:ext cx="4014751" cy="12003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1">
                <a:solidFill>
                  <a:srgbClr val="C00000"/>
                </a:solidFill>
                <a:latin typeface="Century Gothic"/>
                <a:ea typeface="Calibri" panose="020F0502020204030204" pitchFamily="34" charset="0"/>
                <a:cs typeface="Times New Roman"/>
              </a:rPr>
              <a:t>For 2023, the 6th EIF will be held in Tbilisi on </a:t>
            </a:r>
            <a:endParaRPr lang="en-US" sz="2400" b="1">
              <a:solidFill>
                <a:srgbClr val="C00000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7020"/>
            <a:r>
              <a:rPr lang="en-US" sz="2400" b="1">
                <a:solidFill>
                  <a:srgbClr val="C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8 and 29 November.</a:t>
            </a:r>
          </a:p>
        </p:txBody>
      </p:sp>
    </p:spTree>
    <p:extLst>
      <p:ext uri="{BB962C8B-B14F-4D97-AF65-F5344CB8AC3E}">
        <p14:creationId xmlns:p14="http://schemas.microsoft.com/office/powerpoint/2010/main" val="5411131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D885838-C520-FEE7-FA16-EE8360BA79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4508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885838-C520-FEE7-FA16-EE8360BA79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777A147A-9ED8-46B4-8660-1B3C2AA880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ketch line">
            <a:extLst>
              <a:ext uri="{FF2B5EF4-FFF2-40B4-BE49-F238E27FC236}">
                <a16:creationId xmlns:a16="http://schemas.microsoft.com/office/drawing/2014/main" id="{5D6C15A0-C087-4593-8414-2B4EC1CDC3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2543983" y="3258715"/>
            <a:ext cx="4480560" cy="18288"/>
          </a:xfrm>
          <a:custGeom>
            <a:avLst/>
            <a:gdLst>
              <a:gd name="connsiteX0" fmla="*/ 0 w 4480560"/>
              <a:gd name="connsiteY0" fmla="*/ 0 h 18288"/>
              <a:gd name="connsiteX1" fmla="*/ 595274 w 4480560"/>
              <a:gd name="connsiteY1" fmla="*/ 0 h 18288"/>
              <a:gd name="connsiteX2" fmla="*/ 1100938 w 4480560"/>
              <a:gd name="connsiteY2" fmla="*/ 0 h 18288"/>
              <a:gd name="connsiteX3" fmla="*/ 1651406 w 4480560"/>
              <a:gd name="connsiteY3" fmla="*/ 0 h 18288"/>
              <a:gd name="connsiteX4" fmla="*/ 2336292 w 4480560"/>
              <a:gd name="connsiteY4" fmla="*/ 0 h 18288"/>
              <a:gd name="connsiteX5" fmla="*/ 2931566 w 4480560"/>
              <a:gd name="connsiteY5" fmla="*/ 0 h 18288"/>
              <a:gd name="connsiteX6" fmla="*/ 3482035 w 4480560"/>
              <a:gd name="connsiteY6" fmla="*/ 0 h 18288"/>
              <a:gd name="connsiteX7" fmla="*/ 4480560 w 4480560"/>
              <a:gd name="connsiteY7" fmla="*/ 0 h 18288"/>
              <a:gd name="connsiteX8" fmla="*/ 4480560 w 4480560"/>
              <a:gd name="connsiteY8" fmla="*/ 18288 h 18288"/>
              <a:gd name="connsiteX9" fmla="*/ 3840480 w 4480560"/>
              <a:gd name="connsiteY9" fmla="*/ 18288 h 18288"/>
              <a:gd name="connsiteX10" fmla="*/ 3290011 w 4480560"/>
              <a:gd name="connsiteY10" fmla="*/ 18288 h 18288"/>
              <a:gd name="connsiteX11" fmla="*/ 2560320 w 4480560"/>
              <a:gd name="connsiteY11" fmla="*/ 18288 h 18288"/>
              <a:gd name="connsiteX12" fmla="*/ 1965046 w 4480560"/>
              <a:gd name="connsiteY12" fmla="*/ 18288 h 18288"/>
              <a:gd name="connsiteX13" fmla="*/ 1459382 w 4480560"/>
              <a:gd name="connsiteY13" fmla="*/ 18288 h 18288"/>
              <a:gd name="connsiteX14" fmla="*/ 774497 w 4480560"/>
              <a:gd name="connsiteY14" fmla="*/ 18288 h 18288"/>
              <a:gd name="connsiteX15" fmla="*/ 0 w 4480560"/>
              <a:gd name="connsiteY15" fmla="*/ 18288 h 18288"/>
              <a:gd name="connsiteX16" fmla="*/ 0 w 4480560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480560" h="18288" fill="none" extrusionOk="0">
                <a:moveTo>
                  <a:pt x="0" y="0"/>
                </a:moveTo>
                <a:cubicBezTo>
                  <a:pt x="267821" y="8731"/>
                  <a:pt x="334105" y="2629"/>
                  <a:pt x="595274" y="0"/>
                </a:cubicBezTo>
                <a:cubicBezTo>
                  <a:pt x="856443" y="-2629"/>
                  <a:pt x="863808" y="-13353"/>
                  <a:pt x="1100938" y="0"/>
                </a:cubicBezTo>
                <a:cubicBezTo>
                  <a:pt x="1338068" y="13353"/>
                  <a:pt x="1431663" y="-25862"/>
                  <a:pt x="1651406" y="0"/>
                </a:cubicBezTo>
                <a:cubicBezTo>
                  <a:pt x="1871149" y="25862"/>
                  <a:pt x="2173163" y="23827"/>
                  <a:pt x="2336292" y="0"/>
                </a:cubicBezTo>
                <a:cubicBezTo>
                  <a:pt x="2499421" y="-23827"/>
                  <a:pt x="2720589" y="28148"/>
                  <a:pt x="2931566" y="0"/>
                </a:cubicBezTo>
                <a:cubicBezTo>
                  <a:pt x="3142543" y="-28148"/>
                  <a:pt x="3323630" y="27022"/>
                  <a:pt x="3482035" y="0"/>
                </a:cubicBezTo>
                <a:cubicBezTo>
                  <a:pt x="3640440" y="-27022"/>
                  <a:pt x="4012110" y="-20118"/>
                  <a:pt x="4480560" y="0"/>
                </a:cubicBezTo>
                <a:cubicBezTo>
                  <a:pt x="4480958" y="7429"/>
                  <a:pt x="4480540" y="10822"/>
                  <a:pt x="4480560" y="18288"/>
                </a:cubicBezTo>
                <a:cubicBezTo>
                  <a:pt x="4314132" y="14924"/>
                  <a:pt x="4028383" y="36632"/>
                  <a:pt x="3840480" y="18288"/>
                </a:cubicBezTo>
                <a:cubicBezTo>
                  <a:pt x="3652577" y="-56"/>
                  <a:pt x="3547615" y="2848"/>
                  <a:pt x="3290011" y="18288"/>
                </a:cubicBezTo>
                <a:cubicBezTo>
                  <a:pt x="3032407" y="33728"/>
                  <a:pt x="2830268" y="8719"/>
                  <a:pt x="2560320" y="18288"/>
                </a:cubicBezTo>
                <a:cubicBezTo>
                  <a:pt x="2290372" y="27857"/>
                  <a:pt x="2147422" y="6728"/>
                  <a:pt x="1965046" y="18288"/>
                </a:cubicBezTo>
                <a:cubicBezTo>
                  <a:pt x="1782670" y="29848"/>
                  <a:pt x="1689791" y="40680"/>
                  <a:pt x="1459382" y="18288"/>
                </a:cubicBezTo>
                <a:cubicBezTo>
                  <a:pt x="1228973" y="-4104"/>
                  <a:pt x="915486" y="36501"/>
                  <a:pt x="774497" y="18288"/>
                </a:cubicBezTo>
                <a:cubicBezTo>
                  <a:pt x="633508" y="75"/>
                  <a:pt x="361442" y="-11107"/>
                  <a:pt x="0" y="18288"/>
                </a:cubicBezTo>
                <a:cubicBezTo>
                  <a:pt x="-591" y="13205"/>
                  <a:pt x="-663" y="6329"/>
                  <a:pt x="0" y="0"/>
                </a:cubicBezTo>
                <a:close/>
              </a:path>
              <a:path w="4480560" h="18288" stroke="0" extrusionOk="0">
                <a:moveTo>
                  <a:pt x="0" y="0"/>
                </a:moveTo>
                <a:cubicBezTo>
                  <a:pt x="285465" y="225"/>
                  <a:pt x="322691" y="16223"/>
                  <a:pt x="595274" y="0"/>
                </a:cubicBezTo>
                <a:cubicBezTo>
                  <a:pt x="867857" y="-16223"/>
                  <a:pt x="989129" y="-11242"/>
                  <a:pt x="1100938" y="0"/>
                </a:cubicBezTo>
                <a:cubicBezTo>
                  <a:pt x="1212747" y="11242"/>
                  <a:pt x="1574350" y="-36410"/>
                  <a:pt x="1830629" y="0"/>
                </a:cubicBezTo>
                <a:cubicBezTo>
                  <a:pt x="2086908" y="36410"/>
                  <a:pt x="2180922" y="4645"/>
                  <a:pt x="2425903" y="0"/>
                </a:cubicBezTo>
                <a:cubicBezTo>
                  <a:pt x="2670884" y="-4645"/>
                  <a:pt x="2782024" y="22929"/>
                  <a:pt x="3021178" y="0"/>
                </a:cubicBezTo>
                <a:cubicBezTo>
                  <a:pt x="3260332" y="-22929"/>
                  <a:pt x="3456982" y="-1586"/>
                  <a:pt x="3750869" y="0"/>
                </a:cubicBezTo>
                <a:cubicBezTo>
                  <a:pt x="4044756" y="1586"/>
                  <a:pt x="4302726" y="17043"/>
                  <a:pt x="4480560" y="0"/>
                </a:cubicBezTo>
                <a:cubicBezTo>
                  <a:pt x="4479674" y="5429"/>
                  <a:pt x="4481381" y="14046"/>
                  <a:pt x="4480560" y="18288"/>
                </a:cubicBezTo>
                <a:cubicBezTo>
                  <a:pt x="4279652" y="-6850"/>
                  <a:pt x="4200762" y="41566"/>
                  <a:pt x="3930091" y="18288"/>
                </a:cubicBezTo>
                <a:cubicBezTo>
                  <a:pt x="3659420" y="-4990"/>
                  <a:pt x="3456052" y="22294"/>
                  <a:pt x="3290011" y="18288"/>
                </a:cubicBezTo>
                <a:cubicBezTo>
                  <a:pt x="3123970" y="14282"/>
                  <a:pt x="2882392" y="32818"/>
                  <a:pt x="2649931" y="18288"/>
                </a:cubicBezTo>
                <a:cubicBezTo>
                  <a:pt x="2417470" y="3758"/>
                  <a:pt x="2238426" y="7337"/>
                  <a:pt x="2054657" y="18288"/>
                </a:cubicBezTo>
                <a:cubicBezTo>
                  <a:pt x="1870888" y="29239"/>
                  <a:pt x="1566368" y="45040"/>
                  <a:pt x="1324966" y="18288"/>
                </a:cubicBezTo>
                <a:cubicBezTo>
                  <a:pt x="1083564" y="-8464"/>
                  <a:pt x="787410" y="10946"/>
                  <a:pt x="595274" y="18288"/>
                </a:cubicBezTo>
                <a:cubicBezTo>
                  <a:pt x="403138" y="25630"/>
                  <a:pt x="169622" y="10499"/>
                  <a:pt x="0" y="18288"/>
                </a:cubicBezTo>
                <a:cubicBezTo>
                  <a:pt x="668" y="13665"/>
                  <a:pt x="578" y="5675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32EA9FC-9C8C-304D-BD2B-9F2981F1DB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10327" y="143660"/>
            <a:ext cx="2271384" cy="883919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FC683E-E650-BF3F-3AE0-6E4BAA06FD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056168"/>
            <a:ext cx="2743200" cy="365125"/>
          </a:xfrm>
        </p:spPr>
        <p:txBody>
          <a:bodyPr/>
          <a:lstStyle/>
          <a:p>
            <a:fld id="{3A24711B-2BBD-4434-9CFE-8F1E27B5618A}" type="slidenum">
              <a:rPr lang="en-US" smtClean="0"/>
              <a:t>3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0C2EC01-E477-2037-2906-8D2B94575EF5}"/>
              </a:ext>
            </a:extLst>
          </p:cNvPr>
          <p:cNvSpPr/>
          <p:nvPr/>
        </p:nvSpPr>
        <p:spPr>
          <a:xfrm>
            <a:off x="4354263" y="883918"/>
            <a:ext cx="495177" cy="5213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B908C59-18D8-DD00-C2E1-391034504558}"/>
              </a:ext>
            </a:extLst>
          </p:cNvPr>
          <p:cNvSpPr/>
          <p:nvPr/>
        </p:nvSpPr>
        <p:spPr>
          <a:xfrm>
            <a:off x="299083" y="1389151"/>
            <a:ext cx="5678964" cy="1512550"/>
          </a:xfrm>
          <a:prstGeom prst="rect">
            <a:avLst/>
          </a:prstGeom>
          <a:solidFill>
            <a:schemeClr val="accent3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Century Gothic" panose="020B0502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0DA770B-5EBA-6C55-D7C0-0D74460A7ADD}"/>
              </a:ext>
            </a:extLst>
          </p:cNvPr>
          <p:cNvSpPr/>
          <p:nvPr/>
        </p:nvSpPr>
        <p:spPr>
          <a:xfrm>
            <a:off x="306759" y="2997381"/>
            <a:ext cx="5678964" cy="1512551"/>
          </a:xfrm>
          <a:prstGeom prst="rect">
            <a:avLst/>
          </a:prstGeom>
          <a:solidFill>
            <a:schemeClr val="accent3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Century Gothic" panose="020B0502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EA0D0BD-C28B-B2FF-A27C-80D668EABB76}"/>
              </a:ext>
            </a:extLst>
          </p:cNvPr>
          <p:cNvSpPr/>
          <p:nvPr/>
        </p:nvSpPr>
        <p:spPr>
          <a:xfrm>
            <a:off x="306759" y="4596126"/>
            <a:ext cx="5678964" cy="1512551"/>
          </a:xfrm>
          <a:prstGeom prst="rect">
            <a:avLst/>
          </a:prstGeom>
          <a:solidFill>
            <a:schemeClr val="accent3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Century Gothic" panose="020B0502020202020204" pitchFamily="34" charset="0"/>
            </a:endParaRP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AB770AE1-315D-4AD6-DBA6-28F7D0E0CC4E}"/>
              </a:ext>
            </a:extLst>
          </p:cNvPr>
          <p:cNvSpPr txBox="1">
            <a:spLocks/>
          </p:cNvSpPr>
          <p:nvPr/>
        </p:nvSpPr>
        <p:spPr>
          <a:xfrm>
            <a:off x="1604319" y="1547751"/>
            <a:ext cx="4289591" cy="643885"/>
          </a:xfrm>
          <a:prstGeom prst="rect">
            <a:avLst/>
          </a:prstGeom>
          <a:noFill/>
        </p:spPr>
        <p:txBody>
          <a:bodyPr lIns="182880" tIns="0" rIns="182880" bIns="0" anchor="t">
            <a:noAutofit/>
          </a:bodyPr>
          <a:lstStyle>
            <a:lvl1pPr marL="0" indent="0" algn="ctr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1600" dirty="0">
                <a:solidFill>
                  <a:srgbClr val="BC322D"/>
                </a:solidFill>
                <a:latin typeface="Century Gothic" panose="020B0502020202020204" pitchFamily="34" charset="0"/>
              </a:rPr>
              <a:t>The EIF is a platform </a:t>
            </a:r>
            <a:r>
              <a:rPr lang="en-US" sz="1600" dirty="0">
                <a:solidFill>
                  <a:srgbClr val="0070C0"/>
                </a:solidFill>
                <a:latin typeface="Century Gothic" panose="020B0502020202020204" pitchFamily="34" charset="0"/>
              </a:rPr>
              <a:t>for engaging governments in the CAREC region, project developers, development partners, financiers and other stakeholders. 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CDDDC067-2A0F-38A4-9D29-9E878204CE0F}"/>
              </a:ext>
            </a:extLst>
          </p:cNvPr>
          <p:cNvSpPr txBox="1">
            <a:spLocks/>
          </p:cNvSpPr>
          <p:nvPr/>
        </p:nvSpPr>
        <p:spPr>
          <a:xfrm>
            <a:off x="1604319" y="3169275"/>
            <a:ext cx="4135785" cy="643885"/>
          </a:xfrm>
          <a:prstGeom prst="rect">
            <a:avLst/>
          </a:prstGeom>
          <a:noFill/>
        </p:spPr>
        <p:txBody>
          <a:bodyPr lIns="182880" tIns="0" rIns="182880" bIns="0" anchor="t">
            <a:noAutofit/>
          </a:bodyPr>
          <a:lstStyle>
            <a:lvl1pPr marL="0" indent="0" algn="ctr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1600" dirty="0">
                <a:solidFill>
                  <a:srgbClr val="0070C0"/>
                </a:solidFill>
                <a:latin typeface="Century Gothic" panose="020B0502020202020204" pitchFamily="34" charset="0"/>
              </a:rPr>
              <a:t>The primary objective of the forum is to </a:t>
            </a:r>
            <a:r>
              <a:rPr lang="en-US" sz="1600" dirty="0">
                <a:solidFill>
                  <a:srgbClr val="BC322D"/>
                </a:solidFill>
                <a:latin typeface="Century Gothic" panose="020B0502020202020204" pitchFamily="34" charset="0"/>
              </a:rPr>
              <a:t>stimulate dialogue </a:t>
            </a:r>
            <a:r>
              <a:rPr lang="en-US" sz="1600" dirty="0">
                <a:solidFill>
                  <a:srgbClr val="0070C0"/>
                </a:solidFill>
                <a:latin typeface="Century Gothic" panose="020B0502020202020204" pitchFamily="34" charset="0"/>
              </a:rPr>
              <a:t>that leads to the initiation of new sustainable energy projects and help enable financing for these projects. 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86E34D12-425B-19D1-2CA9-4B97BAE717AF}"/>
              </a:ext>
            </a:extLst>
          </p:cNvPr>
          <p:cNvSpPr txBox="1">
            <a:spLocks/>
          </p:cNvSpPr>
          <p:nvPr/>
        </p:nvSpPr>
        <p:spPr>
          <a:xfrm>
            <a:off x="7346424" y="1464541"/>
            <a:ext cx="4363053" cy="643885"/>
          </a:xfrm>
          <a:prstGeom prst="rect">
            <a:avLst/>
          </a:prstGeom>
          <a:noFill/>
        </p:spPr>
        <p:txBody>
          <a:bodyPr lIns="182880" tIns="0" rIns="182880" bIns="0" anchor="t">
            <a:noAutofit/>
          </a:bodyPr>
          <a:lstStyle>
            <a:lvl1pPr marL="0" indent="0" algn="ctr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1600" dirty="0">
                <a:solidFill>
                  <a:srgbClr val="0070C0"/>
                </a:solidFill>
                <a:latin typeface="Century Gothic" panose="020B0502020202020204" pitchFamily="34" charset="0"/>
              </a:rPr>
              <a:t>The primary focus is </a:t>
            </a:r>
            <a:r>
              <a:rPr lang="en-US" sz="1600" dirty="0">
                <a:solidFill>
                  <a:srgbClr val="BC322D"/>
                </a:solidFill>
                <a:latin typeface="Century Gothic" panose="020B0502020202020204" pitchFamily="34" charset="0"/>
              </a:rPr>
              <a:t>to fast-track the financing of these projects </a:t>
            </a:r>
            <a:r>
              <a:rPr lang="en-US" sz="1600" dirty="0">
                <a:solidFill>
                  <a:srgbClr val="0070C0"/>
                </a:solidFill>
                <a:latin typeface="Century Gothic" panose="020B0502020202020204" pitchFamily="34" charset="0"/>
              </a:rPr>
              <a:t>and ensure their timely realization, drawing upon insights from development banks, private developers, and key regional stakeholders.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EBA57632-8337-D681-3E92-D3071477A0AA}"/>
              </a:ext>
            </a:extLst>
          </p:cNvPr>
          <p:cNvSpPr txBox="1">
            <a:spLocks/>
          </p:cNvSpPr>
          <p:nvPr/>
        </p:nvSpPr>
        <p:spPr>
          <a:xfrm>
            <a:off x="1604319" y="4733958"/>
            <a:ext cx="4135785" cy="643885"/>
          </a:xfrm>
          <a:prstGeom prst="rect">
            <a:avLst/>
          </a:prstGeom>
          <a:noFill/>
        </p:spPr>
        <p:txBody>
          <a:bodyPr lIns="182880" tIns="0" rIns="182880" bIns="0" anchor="t">
            <a:noAutofit/>
          </a:bodyPr>
          <a:lstStyle>
            <a:lvl1pPr marL="0" indent="0" algn="ctr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1600" dirty="0">
                <a:solidFill>
                  <a:srgbClr val="0070C0"/>
                </a:solidFill>
                <a:latin typeface="Century Gothic" panose="020B0502020202020204" pitchFamily="34" charset="0"/>
              </a:rPr>
              <a:t>10 CAREC member countries </a:t>
            </a:r>
            <a:r>
              <a:rPr lang="en-US" sz="1600" dirty="0">
                <a:solidFill>
                  <a:srgbClr val="BC322D"/>
                </a:solidFill>
                <a:latin typeface="Century Gothic" panose="020B0502020202020204" pitchFamily="34" charset="0"/>
              </a:rPr>
              <a:t>will unveil upcoming investment opportunities</a:t>
            </a:r>
            <a:r>
              <a:rPr lang="en-US" sz="1600" dirty="0">
                <a:solidFill>
                  <a:schemeClr val="tx2"/>
                </a:solidFill>
                <a:latin typeface="Century Gothic" panose="020B0502020202020204" pitchFamily="34" charset="0"/>
              </a:rPr>
              <a:t>; </a:t>
            </a:r>
            <a:r>
              <a:rPr lang="en-US" sz="1600" dirty="0">
                <a:solidFill>
                  <a:srgbClr val="0070C0"/>
                </a:solidFill>
                <a:latin typeface="Century Gothic" panose="020B0502020202020204" pitchFamily="34" charset="0"/>
              </a:rPr>
              <a:t>from solar, wind and hydro to energy efficiency and sustainable heating.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FF06562-E9DB-46E3-9B03-E7FD10A6516C}"/>
              </a:ext>
            </a:extLst>
          </p:cNvPr>
          <p:cNvSpPr/>
          <p:nvPr/>
        </p:nvSpPr>
        <p:spPr>
          <a:xfrm>
            <a:off x="6110021" y="1376414"/>
            <a:ext cx="5678964" cy="1565133"/>
          </a:xfrm>
          <a:prstGeom prst="rect">
            <a:avLst/>
          </a:prstGeom>
          <a:solidFill>
            <a:schemeClr val="accent3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Century Gothic" panose="020B0502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56AD995-9495-C644-A6B9-B1DC688477C9}"/>
              </a:ext>
            </a:extLst>
          </p:cNvPr>
          <p:cNvSpPr/>
          <p:nvPr/>
        </p:nvSpPr>
        <p:spPr>
          <a:xfrm>
            <a:off x="6130447" y="2997381"/>
            <a:ext cx="5678964" cy="1512551"/>
          </a:xfrm>
          <a:prstGeom prst="rect">
            <a:avLst/>
          </a:prstGeom>
          <a:solidFill>
            <a:schemeClr val="accent3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Century Gothic" panose="020B0502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11D4689-F401-6878-22E3-4B6668832794}"/>
              </a:ext>
            </a:extLst>
          </p:cNvPr>
          <p:cNvSpPr/>
          <p:nvPr/>
        </p:nvSpPr>
        <p:spPr>
          <a:xfrm>
            <a:off x="6130447" y="4596126"/>
            <a:ext cx="5678964" cy="1512551"/>
          </a:xfrm>
          <a:prstGeom prst="rect">
            <a:avLst/>
          </a:prstGeom>
          <a:solidFill>
            <a:schemeClr val="accent3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Century Gothic" panose="020B0502020202020204" pitchFamily="34" charset="0"/>
            </a:endParaRP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31BCD6-4A16-2715-389E-1DCBB8E93B26}"/>
              </a:ext>
            </a:extLst>
          </p:cNvPr>
          <p:cNvSpPr txBox="1">
            <a:spLocks/>
          </p:cNvSpPr>
          <p:nvPr/>
        </p:nvSpPr>
        <p:spPr>
          <a:xfrm>
            <a:off x="7379686" y="3380982"/>
            <a:ext cx="4296528" cy="643885"/>
          </a:xfrm>
          <a:prstGeom prst="rect">
            <a:avLst/>
          </a:prstGeom>
          <a:noFill/>
        </p:spPr>
        <p:txBody>
          <a:bodyPr lIns="182880" tIns="0" rIns="182880" bIns="0" anchor="t">
            <a:noAutofit/>
          </a:bodyPr>
          <a:lstStyle>
            <a:lvl1pPr marL="0" indent="0" algn="ctr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1600" dirty="0">
                <a:solidFill>
                  <a:srgbClr val="0070C0"/>
                </a:solidFill>
                <a:latin typeface="Century Gothic" panose="020B0502020202020204" pitchFamily="34" charset="0"/>
              </a:rPr>
              <a:t>At this year’s event, we are putting </a:t>
            </a:r>
            <a:r>
              <a:rPr lang="en-US" sz="1600" dirty="0">
                <a:solidFill>
                  <a:srgbClr val="BC322D"/>
                </a:solidFill>
                <a:latin typeface="Century Gothic" panose="020B0502020202020204" pitchFamily="34" charset="0"/>
              </a:rPr>
              <a:t>new energy projects at the center stage. 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89C35CE4-3829-8211-EE7E-B76E5EFD14F0}"/>
              </a:ext>
            </a:extLst>
          </p:cNvPr>
          <p:cNvSpPr txBox="1">
            <a:spLocks/>
          </p:cNvSpPr>
          <p:nvPr/>
        </p:nvSpPr>
        <p:spPr>
          <a:xfrm>
            <a:off x="7441425" y="4747470"/>
            <a:ext cx="4296528" cy="643885"/>
          </a:xfrm>
          <a:prstGeom prst="rect">
            <a:avLst/>
          </a:prstGeom>
          <a:noFill/>
        </p:spPr>
        <p:txBody>
          <a:bodyPr lIns="182880" tIns="0" rIns="182880" bIns="0" anchor="t">
            <a:noAutofit/>
          </a:bodyPr>
          <a:lstStyle>
            <a:lvl1pPr marL="0" indent="0" algn="ctr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1600" dirty="0">
                <a:solidFill>
                  <a:srgbClr val="0070C0"/>
                </a:solidFill>
                <a:latin typeface="Century Gothic" panose="020B0502020202020204" pitchFamily="34" charset="0"/>
              </a:rPr>
              <a:t>In the program, we have also included a series of compelling </a:t>
            </a:r>
            <a:r>
              <a:rPr lang="en-US" sz="1600" dirty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  <a:t>“</a:t>
            </a:r>
            <a:r>
              <a:rPr lang="en-US" sz="1600" dirty="0">
                <a:solidFill>
                  <a:srgbClr val="BC322D"/>
                </a:solidFill>
                <a:latin typeface="Century Gothic" panose="020B0502020202020204" pitchFamily="34" charset="0"/>
              </a:rPr>
              <a:t>intermezzo presentations”, covering vital topics </a:t>
            </a:r>
            <a:r>
              <a:rPr lang="en-US" sz="1600" dirty="0">
                <a:solidFill>
                  <a:srgbClr val="0070C0"/>
                </a:solidFill>
                <a:latin typeface="Century Gothic" panose="020B0502020202020204" pitchFamily="34" charset="0"/>
              </a:rPr>
              <a:t>concerning the energy transition in the region.</a:t>
            </a:r>
          </a:p>
        </p:txBody>
      </p:sp>
      <p:pic>
        <p:nvPicPr>
          <p:cNvPr id="27" name="Picture 26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462BDC96-9D38-C49E-E496-856C542C8A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015" y="3296456"/>
            <a:ext cx="914400" cy="914400"/>
          </a:xfrm>
          <a:prstGeom prst="rect">
            <a:avLst/>
          </a:prstGeom>
        </p:spPr>
      </p:pic>
      <p:pic>
        <p:nvPicPr>
          <p:cNvPr id="28" name="Picture 27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4E7FF486-4A12-4AE5-7F44-000F6241717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7478" y="3296456"/>
            <a:ext cx="914400" cy="914400"/>
          </a:xfrm>
          <a:prstGeom prst="rect">
            <a:avLst/>
          </a:prstGeom>
        </p:spPr>
      </p:pic>
      <p:pic>
        <p:nvPicPr>
          <p:cNvPr id="29" name="Picture 28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8610DC4C-C106-39AF-8EEA-1D44092FA27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7478" y="4818142"/>
            <a:ext cx="914400" cy="914400"/>
          </a:xfrm>
          <a:prstGeom prst="rect">
            <a:avLst/>
          </a:prstGeom>
        </p:spPr>
      </p:pic>
      <p:pic>
        <p:nvPicPr>
          <p:cNvPr id="30" name="Picture 29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05FD483E-33E2-9921-3A07-CCAA4D6C039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7478" y="1651226"/>
            <a:ext cx="914400" cy="914400"/>
          </a:xfrm>
          <a:prstGeom prst="rect">
            <a:avLst/>
          </a:prstGeom>
        </p:spPr>
      </p:pic>
      <p:pic>
        <p:nvPicPr>
          <p:cNvPr id="31" name="Picture 30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47A121BF-E70B-D5F1-63A1-176C5DEEF71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015" y="4818142"/>
            <a:ext cx="914400" cy="914400"/>
          </a:xfrm>
          <a:prstGeom prst="rect">
            <a:avLst/>
          </a:prstGeom>
        </p:spPr>
      </p:pic>
      <p:pic>
        <p:nvPicPr>
          <p:cNvPr id="32" name="Picture 31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62D8A9E2-871C-F43E-87BF-0DCB90B4413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015" y="1651226"/>
            <a:ext cx="914400" cy="914400"/>
          </a:xfrm>
          <a:prstGeom prst="rect">
            <a:avLst/>
          </a:prstGeom>
        </p:spPr>
      </p:pic>
      <p:sp>
        <p:nvSpPr>
          <p:cNvPr id="33" name="Title 7">
            <a:extLst>
              <a:ext uri="{FF2B5EF4-FFF2-40B4-BE49-F238E27FC236}">
                <a16:creationId xmlns:a16="http://schemas.microsoft.com/office/drawing/2014/main" id="{2692C62E-9B39-63B8-1132-428D3F3F10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340" y="309099"/>
            <a:ext cx="10506456" cy="1119116"/>
          </a:xfrm>
        </p:spPr>
        <p:txBody>
          <a:bodyPr vert="horz" anchor="ctr">
            <a:normAutofit/>
          </a:bodyPr>
          <a:lstStyle/>
          <a:p>
            <a:r>
              <a:rPr lang="en-US" sz="4000" b="1" dirty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rPr>
              <a:t>Purpose</a:t>
            </a:r>
          </a:p>
        </p:txBody>
      </p:sp>
    </p:spTree>
    <p:extLst>
      <p:ext uri="{BB962C8B-B14F-4D97-AF65-F5344CB8AC3E}">
        <p14:creationId xmlns:p14="http://schemas.microsoft.com/office/powerpoint/2010/main" val="40033254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E9E38B2-F366-0632-198E-3F040A36B7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3301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9E38B2-F366-0632-198E-3F040A36B7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71AAFB-1570-A76A-76E6-A95FEF87A1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4</a:t>
            </a:fld>
            <a:endParaRPr lang="en-US"/>
          </a:p>
        </p:txBody>
      </p:sp>
      <p:sp>
        <p:nvSpPr>
          <p:cNvPr id="6" name="ïsḷíḓè">
            <a:extLst>
              <a:ext uri="{FF2B5EF4-FFF2-40B4-BE49-F238E27FC236}">
                <a16:creationId xmlns:a16="http://schemas.microsoft.com/office/drawing/2014/main" id="{3BC0A284-3DF3-97DA-1444-7E85F0C7EB4B}"/>
              </a:ext>
            </a:extLst>
          </p:cNvPr>
          <p:cNvSpPr/>
          <p:nvPr/>
        </p:nvSpPr>
        <p:spPr>
          <a:xfrm>
            <a:off x="3302971" y="1444164"/>
            <a:ext cx="3932715" cy="46500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b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dirty="0">
                <a:solidFill>
                  <a:schemeClr val="tx1"/>
                </a:solidFill>
                <a:latin typeface="Century Gothic" panose="020B0502020202020204" pitchFamily="34" charset="0"/>
              </a:rPr>
              <a:t>Forum will be </a:t>
            </a:r>
            <a:r>
              <a:rPr kumimoji="1" lang="en-US" altLang="zh-CN" b="1" dirty="0">
                <a:solidFill>
                  <a:schemeClr val="tx1"/>
                </a:solidFill>
                <a:latin typeface="Century Gothic" panose="020B0502020202020204" pitchFamily="34" charset="0"/>
              </a:rPr>
              <a:t>moderated by Nisha Pillai</a:t>
            </a:r>
            <a:r>
              <a:rPr kumimoji="1" lang="en-US" altLang="zh-CN" dirty="0">
                <a:solidFill>
                  <a:schemeClr val="tx1"/>
                </a:solidFill>
                <a:latin typeface="Century Gothic" panose="020B0502020202020204" pitchFamily="34" charset="0"/>
              </a:rPr>
              <a:t>, former BBC World Ancho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dirty="0">
                <a:solidFill>
                  <a:schemeClr val="tx1"/>
                </a:solidFill>
                <a:latin typeface="Century Gothic" panose="020B0502020202020204" pitchFamily="34" charset="0"/>
              </a:rPr>
              <a:t>Most key external and internal </a:t>
            </a:r>
            <a:r>
              <a:rPr kumimoji="1" lang="en-US" altLang="zh-CN" b="1" dirty="0">
                <a:solidFill>
                  <a:schemeClr val="tx1"/>
                </a:solidFill>
                <a:latin typeface="Century Gothic" panose="020B0502020202020204" pitchFamily="34" charset="0"/>
              </a:rPr>
              <a:t>speakers are confirmed</a:t>
            </a:r>
            <a:r>
              <a:rPr kumimoji="1" lang="en-US" altLang="zh-CN" dirty="0">
                <a:solidFill>
                  <a:schemeClr val="tx1"/>
                </a:solidFill>
                <a:latin typeface="Century Gothic" panose="020B0502020202020204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b="1" dirty="0">
                <a:solidFill>
                  <a:schemeClr val="tx1"/>
                </a:solidFill>
                <a:latin typeface="Century Gothic" panose="020B0502020202020204" pitchFamily="34" charset="0"/>
              </a:rPr>
              <a:t>Planned two roundtable </a:t>
            </a:r>
            <a:r>
              <a:rPr kumimoji="1" lang="en-US" altLang="zh-CN" dirty="0">
                <a:solidFill>
                  <a:schemeClr val="tx1"/>
                </a:solidFill>
                <a:latin typeface="Century Gothic" panose="020B0502020202020204" pitchFamily="34" charset="0"/>
              </a:rPr>
              <a:t>discussions: (i) with the private sector and (ii) with development partne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dirty="0">
                <a:solidFill>
                  <a:schemeClr val="tx1"/>
                </a:solidFill>
                <a:latin typeface="Century Gothic" panose="020B0502020202020204" pitchFamily="34" charset="0"/>
              </a:rPr>
              <a:t>All </a:t>
            </a:r>
            <a:r>
              <a:rPr kumimoji="1" lang="en-US" altLang="zh-CN" b="1" dirty="0">
                <a:solidFill>
                  <a:schemeClr val="tx1"/>
                </a:solidFill>
                <a:latin typeface="Century Gothic" panose="020B0502020202020204" pitchFamily="34" charset="0"/>
              </a:rPr>
              <a:t>CAREC government delegations will have a </a:t>
            </a:r>
            <a:r>
              <a:rPr kumimoji="1" lang="en-US" altLang="zh-CN" b="1">
                <a:solidFill>
                  <a:schemeClr val="tx1"/>
                </a:solidFill>
                <a:latin typeface="Century Gothic" panose="020B0502020202020204" pitchFamily="34" charset="0"/>
              </a:rPr>
              <a:t>10–15</a:t>
            </a:r>
            <a:r>
              <a:rPr kumimoji="1" lang="en-US" altLang="zh-CN">
                <a:solidFill>
                  <a:schemeClr val="tx1"/>
                </a:solidFill>
                <a:latin typeface="Century Gothic" panose="020B0502020202020204" pitchFamily="34" charset="0"/>
              </a:rPr>
              <a:t>-minute</a:t>
            </a:r>
            <a:r>
              <a:rPr kumimoji="1" lang="en-US" altLang="zh-CN" dirty="0">
                <a:solidFill>
                  <a:schemeClr val="tx1"/>
                </a:solidFill>
                <a:latin typeface="Century Gothic" panose="020B0502020202020204" pitchFamily="34" charset="0"/>
              </a:rPr>
              <a:t> pres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dirty="0">
                <a:solidFill>
                  <a:schemeClr val="tx1"/>
                </a:solidFill>
                <a:latin typeface="Century Gothic" panose="020B0502020202020204" pitchFamily="34" charset="0"/>
              </a:rPr>
              <a:t>Intermezzo presentations to spice up the forum and make it more compell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b="1" dirty="0">
                <a:solidFill>
                  <a:schemeClr val="tx1"/>
                </a:solidFill>
                <a:latin typeface="Century Gothic" panose="020B0502020202020204" pitchFamily="34" charset="0"/>
              </a:rPr>
              <a:t>Matchmaking forum on day 2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A29746A-05E3-AF0D-5EE5-A06D8F45208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7000" t="6251" r="65519" b="30131"/>
          <a:stretch/>
        </p:blipFill>
        <p:spPr>
          <a:xfrm>
            <a:off x="171969" y="1330240"/>
            <a:ext cx="2985228" cy="2221343"/>
          </a:xfrm>
          <a:prstGeom prst="rect">
            <a:avLst/>
          </a:prstGeom>
        </p:spPr>
      </p:pic>
      <p:cxnSp>
        <p:nvCxnSpPr>
          <p:cNvPr id="9" name="í$lïḍé">
            <a:extLst>
              <a:ext uri="{FF2B5EF4-FFF2-40B4-BE49-F238E27FC236}">
                <a16:creationId xmlns:a16="http://schemas.microsoft.com/office/drawing/2014/main" id="{517501E7-4FB6-227A-5FC3-9ACFEFEA4B28}"/>
              </a:ext>
            </a:extLst>
          </p:cNvPr>
          <p:cNvCxnSpPr>
            <a:cxnSpLocks/>
          </p:cNvCxnSpPr>
          <p:nvPr/>
        </p:nvCxnSpPr>
        <p:spPr>
          <a:xfrm>
            <a:off x="4062658" y="6273153"/>
            <a:ext cx="7804664" cy="23563"/>
          </a:xfrm>
          <a:prstGeom prst="line">
            <a:avLst/>
          </a:prstGeom>
          <a:ln w="254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îs1ïďè">
            <a:extLst>
              <a:ext uri="{FF2B5EF4-FFF2-40B4-BE49-F238E27FC236}">
                <a16:creationId xmlns:a16="http://schemas.microsoft.com/office/drawing/2014/main" id="{3C24190D-6B9C-9709-1CFB-E4ABFCFDB483}"/>
              </a:ext>
            </a:extLst>
          </p:cNvPr>
          <p:cNvGrpSpPr/>
          <p:nvPr/>
        </p:nvGrpSpPr>
        <p:grpSpPr>
          <a:xfrm>
            <a:off x="5471968" y="6057129"/>
            <a:ext cx="432048" cy="432048"/>
            <a:chOff x="4264950" y="5651169"/>
            <a:chExt cx="432048" cy="432048"/>
          </a:xfrm>
        </p:grpSpPr>
        <p:sp>
          <p:nvSpPr>
            <p:cNvPr id="11" name="ïṩlîďe">
              <a:extLst>
                <a:ext uri="{FF2B5EF4-FFF2-40B4-BE49-F238E27FC236}">
                  <a16:creationId xmlns:a16="http://schemas.microsoft.com/office/drawing/2014/main" id="{3FBAB795-E467-B03A-D636-1B263319CCA2}"/>
                </a:ext>
              </a:extLst>
            </p:cNvPr>
            <p:cNvSpPr/>
            <p:nvPr/>
          </p:nvSpPr>
          <p:spPr>
            <a:xfrm>
              <a:off x="4264950" y="5651169"/>
              <a:ext cx="432048" cy="43204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iślïdé">
              <a:extLst>
                <a:ext uri="{FF2B5EF4-FFF2-40B4-BE49-F238E27FC236}">
                  <a16:creationId xmlns:a16="http://schemas.microsoft.com/office/drawing/2014/main" id="{622F799C-1E3B-9D39-1EBE-9931724C93D1}"/>
                </a:ext>
              </a:extLst>
            </p:cNvPr>
            <p:cNvSpPr/>
            <p:nvPr/>
          </p:nvSpPr>
          <p:spPr>
            <a:xfrm>
              <a:off x="4401650" y="5796308"/>
              <a:ext cx="158649" cy="158649"/>
            </a:xfrm>
            <a:prstGeom prst="chevron">
              <a:avLst/>
            </a:prstGeom>
            <a:solidFill>
              <a:schemeClr val="bg1"/>
            </a:solidFill>
            <a:ln w="605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endParaRPr lang="zh-CN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3" name="í$ľîḑè">
            <a:extLst>
              <a:ext uri="{FF2B5EF4-FFF2-40B4-BE49-F238E27FC236}">
                <a16:creationId xmlns:a16="http://schemas.microsoft.com/office/drawing/2014/main" id="{14AF69FA-0A75-BA39-FFA5-D500534B723F}"/>
              </a:ext>
            </a:extLst>
          </p:cNvPr>
          <p:cNvGrpSpPr/>
          <p:nvPr/>
        </p:nvGrpSpPr>
        <p:grpSpPr>
          <a:xfrm>
            <a:off x="11181480" y="6057129"/>
            <a:ext cx="432048" cy="432048"/>
            <a:chOff x="4264950" y="5651169"/>
            <a:chExt cx="432048" cy="432048"/>
          </a:xfrm>
        </p:grpSpPr>
        <p:sp>
          <p:nvSpPr>
            <p:cNvPr id="14" name="í$ľíḑè">
              <a:extLst>
                <a:ext uri="{FF2B5EF4-FFF2-40B4-BE49-F238E27FC236}">
                  <a16:creationId xmlns:a16="http://schemas.microsoft.com/office/drawing/2014/main" id="{4C0625B8-BD84-36F4-891F-45F6FC0B275F}"/>
                </a:ext>
              </a:extLst>
            </p:cNvPr>
            <p:cNvSpPr/>
            <p:nvPr/>
          </p:nvSpPr>
          <p:spPr>
            <a:xfrm>
              <a:off x="4264950" y="5651169"/>
              <a:ext cx="432048" cy="43204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ísḻiḍê">
              <a:extLst>
                <a:ext uri="{FF2B5EF4-FFF2-40B4-BE49-F238E27FC236}">
                  <a16:creationId xmlns:a16="http://schemas.microsoft.com/office/drawing/2014/main" id="{064A02FB-66C1-EE14-C5BD-5605F8ADB252}"/>
                </a:ext>
              </a:extLst>
            </p:cNvPr>
            <p:cNvSpPr/>
            <p:nvPr/>
          </p:nvSpPr>
          <p:spPr>
            <a:xfrm>
              <a:off x="4401650" y="5796308"/>
              <a:ext cx="158649" cy="158649"/>
            </a:xfrm>
            <a:prstGeom prst="chevron">
              <a:avLst/>
            </a:prstGeom>
            <a:solidFill>
              <a:schemeClr val="bg1"/>
            </a:solidFill>
            <a:ln w="605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endParaRPr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17" name="Title 7">
            <a:extLst>
              <a:ext uri="{FF2B5EF4-FFF2-40B4-BE49-F238E27FC236}">
                <a16:creationId xmlns:a16="http://schemas.microsoft.com/office/drawing/2014/main" id="{6F0ABB95-227F-708A-C8F0-0E1C6229E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740" y="173236"/>
            <a:ext cx="8813748" cy="1092032"/>
          </a:xfrm>
        </p:spPr>
        <p:txBody>
          <a:bodyPr vert="horz" anchor="ctr">
            <a:normAutofit/>
          </a:bodyPr>
          <a:lstStyle/>
          <a:p>
            <a:r>
              <a:rPr lang="en-US" sz="3200" b="1">
                <a:solidFill>
                  <a:schemeClr val="accent5">
                    <a:lumMod val="75000"/>
                  </a:schemeClr>
                </a:solidFill>
                <a:latin typeface="Century Gothic"/>
                <a:ea typeface="+mn-ea"/>
                <a:cs typeface="+mn-cs"/>
              </a:rPr>
              <a:t>Status of 6th CAREC Energy Investment Forum</a:t>
            </a:r>
          </a:p>
        </p:txBody>
      </p:sp>
      <p:sp>
        <p:nvSpPr>
          <p:cNvPr id="23" name="ïsḷíḓè">
            <a:extLst>
              <a:ext uri="{FF2B5EF4-FFF2-40B4-BE49-F238E27FC236}">
                <a16:creationId xmlns:a16="http://schemas.microsoft.com/office/drawing/2014/main" id="{545247DD-0982-3C32-9273-6F0D492F44AA}"/>
              </a:ext>
            </a:extLst>
          </p:cNvPr>
          <p:cNvSpPr/>
          <p:nvPr/>
        </p:nvSpPr>
        <p:spPr>
          <a:xfrm>
            <a:off x="8305976" y="1544265"/>
            <a:ext cx="3714055" cy="43730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b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dirty="0">
                <a:solidFill>
                  <a:schemeClr val="tx1"/>
                </a:solidFill>
                <a:latin typeface="Century Gothic" panose="020B0502020202020204" pitchFamily="34" charset="0"/>
              </a:rPr>
              <a:t>Our aim is to </a:t>
            </a:r>
            <a:r>
              <a:rPr kumimoji="1" lang="en-US" altLang="zh-CN" b="1" dirty="0">
                <a:solidFill>
                  <a:schemeClr val="tx1"/>
                </a:solidFill>
                <a:latin typeface="Century Gothic" panose="020B0502020202020204" pitchFamily="34" charset="0"/>
              </a:rPr>
              <a:t>connect developers, development banks, and CAREC governments</a:t>
            </a:r>
            <a:r>
              <a:rPr kumimoji="1" lang="en-US" altLang="zh-CN" dirty="0">
                <a:solidFill>
                  <a:schemeClr val="tx1"/>
                </a:solidFill>
                <a:latin typeface="Century Gothic" panose="020B0502020202020204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b="1" dirty="0">
                <a:solidFill>
                  <a:schemeClr val="tx1"/>
                </a:solidFill>
                <a:latin typeface="Century Gothic" panose="020B0502020202020204" pitchFamily="34" charset="0"/>
              </a:rPr>
              <a:t>Each country will have one station</a:t>
            </a:r>
            <a:r>
              <a:rPr kumimoji="1" lang="en-US" altLang="zh-CN" dirty="0">
                <a:solidFill>
                  <a:schemeClr val="tx1"/>
                </a:solidFill>
                <a:latin typeface="Century Gothic" panose="020B0502020202020204" pitchFamily="34" charset="0"/>
              </a:rPr>
              <a:t>. At the station, government officials and potentially other stakeholders will be seated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altLang="zh-CN" dirty="0">
                <a:solidFill>
                  <a:schemeClr val="tx1"/>
                </a:solidFill>
                <a:latin typeface="Century Gothic" panose="020B0502020202020204" pitchFamily="34" charset="0"/>
              </a:rPr>
              <a:t>Participants will walk around in groups (10 groups), circulating between each station every 15 minutes. A bell will signal that it is time to move on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FBA2E48-315E-5854-52C0-E53B7CFEAC7E}"/>
              </a:ext>
            </a:extLst>
          </p:cNvPr>
          <p:cNvSpPr txBox="1"/>
          <p:nvPr/>
        </p:nvSpPr>
        <p:spPr>
          <a:xfrm>
            <a:off x="3312910" y="1194643"/>
            <a:ext cx="30811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>
                <a:latin typeface="Century Gothic" panose="020B0502020202020204" pitchFamily="34" charset="0"/>
              </a:rPr>
              <a:t>Status: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4CC1FD8-6FB8-B513-1548-464B4C3E5F85}"/>
              </a:ext>
            </a:extLst>
          </p:cNvPr>
          <p:cNvSpPr txBox="1"/>
          <p:nvPr/>
        </p:nvSpPr>
        <p:spPr>
          <a:xfrm>
            <a:off x="8441634" y="1231339"/>
            <a:ext cx="30811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>
                <a:latin typeface="Century Gothic" panose="020B0502020202020204" pitchFamily="34" charset="0"/>
              </a:rPr>
              <a:t>Matchmaking:</a:t>
            </a:r>
          </a:p>
        </p:txBody>
      </p:sp>
      <p:pic>
        <p:nvPicPr>
          <p:cNvPr id="27" name="Picture 26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59A411EF-ADAC-A203-5FDC-5E82C178D59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3631" y="137930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56027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E9E38B2-F366-0632-198E-3F040A36B7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0297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9E38B2-F366-0632-198E-3F040A36B7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71AAFB-1570-A76A-76E6-A95FEF87A1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5</a:t>
            </a:fld>
            <a:endParaRPr lang="en-US"/>
          </a:p>
        </p:txBody>
      </p:sp>
      <p:cxnSp>
        <p:nvCxnSpPr>
          <p:cNvPr id="9" name="í$lïḍé">
            <a:extLst>
              <a:ext uri="{FF2B5EF4-FFF2-40B4-BE49-F238E27FC236}">
                <a16:creationId xmlns:a16="http://schemas.microsoft.com/office/drawing/2014/main" id="{517501E7-4FB6-227A-5FC3-9ACFEFEA4B28}"/>
              </a:ext>
            </a:extLst>
          </p:cNvPr>
          <p:cNvCxnSpPr>
            <a:cxnSpLocks/>
          </p:cNvCxnSpPr>
          <p:nvPr/>
        </p:nvCxnSpPr>
        <p:spPr>
          <a:xfrm>
            <a:off x="4062658" y="6273153"/>
            <a:ext cx="7804664" cy="23563"/>
          </a:xfrm>
          <a:prstGeom prst="line">
            <a:avLst/>
          </a:prstGeom>
          <a:ln w="254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îs1ïďè">
            <a:extLst>
              <a:ext uri="{FF2B5EF4-FFF2-40B4-BE49-F238E27FC236}">
                <a16:creationId xmlns:a16="http://schemas.microsoft.com/office/drawing/2014/main" id="{3C24190D-6B9C-9709-1CFB-E4ABFCFDB483}"/>
              </a:ext>
            </a:extLst>
          </p:cNvPr>
          <p:cNvGrpSpPr/>
          <p:nvPr/>
        </p:nvGrpSpPr>
        <p:grpSpPr>
          <a:xfrm>
            <a:off x="5471968" y="6057129"/>
            <a:ext cx="432048" cy="432048"/>
            <a:chOff x="4264950" y="5651169"/>
            <a:chExt cx="432048" cy="432048"/>
          </a:xfrm>
        </p:grpSpPr>
        <p:sp>
          <p:nvSpPr>
            <p:cNvPr id="11" name="ïṩlîďe">
              <a:extLst>
                <a:ext uri="{FF2B5EF4-FFF2-40B4-BE49-F238E27FC236}">
                  <a16:creationId xmlns:a16="http://schemas.microsoft.com/office/drawing/2014/main" id="{3FBAB795-E467-B03A-D636-1B263319CCA2}"/>
                </a:ext>
              </a:extLst>
            </p:cNvPr>
            <p:cNvSpPr/>
            <p:nvPr/>
          </p:nvSpPr>
          <p:spPr>
            <a:xfrm>
              <a:off x="4264950" y="5651169"/>
              <a:ext cx="432048" cy="43204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iślïdé">
              <a:extLst>
                <a:ext uri="{FF2B5EF4-FFF2-40B4-BE49-F238E27FC236}">
                  <a16:creationId xmlns:a16="http://schemas.microsoft.com/office/drawing/2014/main" id="{622F799C-1E3B-9D39-1EBE-9931724C93D1}"/>
                </a:ext>
              </a:extLst>
            </p:cNvPr>
            <p:cNvSpPr/>
            <p:nvPr/>
          </p:nvSpPr>
          <p:spPr>
            <a:xfrm>
              <a:off x="4401650" y="5796308"/>
              <a:ext cx="158649" cy="158649"/>
            </a:xfrm>
            <a:prstGeom prst="chevron">
              <a:avLst/>
            </a:prstGeom>
            <a:solidFill>
              <a:schemeClr val="bg1"/>
            </a:solidFill>
            <a:ln w="605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endParaRPr lang="zh-CN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3" name="í$ľîḑè">
            <a:extLst>
              <a:ext uri="{FF2B5EF4-FFF2-40B4-BE49-F238E27FC236}">
                <a16:creationId xmlns:a16="http://schemas.microsoft.com/office/drawing/2014/main" id="{14AF69FA-0A75-BA39-FFA5-D500534B723F}"/>
              </a:ext>
            </a:extLst>
          </p:cNvPr>
          <p:cNvGrpSpPr/>
          <p:nvPr/>
        </p:nvGrpSpPr>
        <p:grpSpPr>
          <a:xfrm>
            <a:off x="11181480" y="6057129"/>
            <a:ext cx="432048" cy="432048"/>
            <a:chOff x="4264950" y="5651169"/>
            <a:chExt cx="432048" cy="432048"/>
          </a:xfrm>
        </p:grpSpPr>
        <p:sp>
          <p:nvSpPr>
            <p:cNvPr id="14" name="í$ľíḑè">
              <a:extLst>
                <a:ext uri="{FF2B5EF4-FFF2-40B4-BE49-F238E27FC236}">
                  <a16:creationId xmlns:a16="http://schemas.microsoft.com/office/drawing/2014/main" id="{4C0625B8-BD84-36F4-891F-45F6FC0B275F}"/>
                </a:ext>
              </a:extLst>
            </p:cNvPr>
            <p:cNvSpPr/>
            <p:nvPr/>
          </p:nvSpPr>
          <p:spPr>
            <a:xfrm>
              <a:off x="4264950" y="5651169"/>
              <a:ext cx="432048" cy="43204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ísḻiḍê">
              <a:extLst>
                <a:ext uri="{FF2B5EF4-FFF2-40B4-BE49-F238E27FC236}">
                  <a16:creationId xmlns:a16="http://schemas.microsoft.com/office/drawing/2014/main" id="{064A02FB-66C1-EE14-C5BD-5605F8ADB252}"/>
                </a:ext>
              </a:extLst>
            </p:cNvPr>
            <p:cNvSpPr/>
            <p:nvPr/>
          </p:nvSpPr>
          <p:spPr>
            <a:xfrm>
              <a:off x="4401650" y="5796308"/>
              <a:ext cx="158649" cy="158649"/>
            </a:xfrm>
            <a:prstGeom prst="chevron">
              <a:avLst/>
            </a:prstGeom>
            <a:solidFill>
              <a:schemeClr val="bg1"/>
            </a:solidFill>
            <a:ln w="605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endParaRPr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17" name="Title 7">
            <a:extLst>
              <a:ext uri="{FF2B5EF4-FFF2-40B4-BE49-F238E27FC236}">
                <a16:creationId xmlns:a16="http://schemas.microsoft.com/office/drawing/2014/main" id="{6F0ABB95-227F-708A-C8F0-0E1C6229E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740" y="173236"/>
            <a:ext cx="10506456" cy="530150"/>
          </a:xfrm>
        </p:spPr>
        <p:txBody>
          <a:bodyPr vert="horz" anchor="ctr">
            <a:normAutofit fontScale="90000"/>
          </a:bodyPr>
          <a:lstStyle/>
          <a:p>
            <a:r>
              <a:rPr lang="en-US" sz="3200" b="1">
                <a:solidFill>
                  <a:schemeClr val="accent5">
                    <a:lumMod val="75000"/>
                  </a:schemeClr>
                </a:solidFill>
                <a:latin typeface="Century Gothic"/>
                <a:ea typeface="+mn-ea"/>
                <a:cs typeface="+mn-cs"/>
              </a:rPr>
              <a:t>Expectations from CAREC Governments </a:t>
            </a:r>
            <a:endParaRPr lang="en-US" sz="3200" b="1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F6C22850-FEBA-2936-9186-420BA9D05A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06995" y="703386"/>
            <a:ext cx="6553328" cy="5785791"/>
          </a:xfrm>
        </p:spPr>
        <p:txBody>
          <a:bodyPr anchor="ctr">
            <a:noAutofit/>
          </a:bodyPr>
          <a:lstStyle/>
          <a:p>
            <a:r>
              <a:rPr lang="en-US" sz="2000" dirty="0">
                <a:latin typeface="Century Gothic" panose="020B0502020202020204" pitchFamily="34" charset="0"/>
              </a:rPr>
              <a:t>Each CAREC member country will have </a:t>
            </a:r>
            <a:r>
              <a:rPr lang="en-US" sz="2000" b="1" dirty="0">
                <a:latin typeface="Century Gothic" panose="020B0502020202020204" pitchFamily="34" charset="0"/>
              </a:rPr>
              <a:t>10 minutes to present investment opportunities </a:t>
            </a:r>
            <a:r>
              <a:rPr lang="en-US" sz="2000" dirty="0">
                <a:latin typeface="Century Gothic" panose="020B0502020202020204" pitchFamily="34" charset="0"/>
              </a:rPr>
              <a:t>in their country and 5 minutes for questions.</a:t>
            </a:r>
          </a:p>
          <a:p>
            <a:r>
              <a:rPr lang="en-US" sz="2000" dirty="0">
                <a:latin typeface="Century Gothic" panose="020B0502020202020204" pitchFamily="34" charset="0"/>
              </a:rPr>
              <a:t>The CAREC members have been requested to compile </a:t>
            </a:r>
            <a:r>
              <a:rPr lang="en-US" sz="2000" b="1" dirty="0">
                <a:latin typeface="Century Gothic" panose="020B0502020202020204" pitchFamily="34" charset="0"/>
              </a:rPr>
              <a:t>2 or more investment-ready projects</a:t>
            </a:r>
            <a:r>
              <a:rPr lang="en-US" sz="2000" dirty="0">
                <a:latin typeface="Century Gothic" panose="020B0502020202020204" pitchFamily="34" charset="0"/>
              </a:rPr>
              <a:t>. These will be presented in the presentation.</a:t>
            </a:r>
          </a:p>
          <a:p>
            <a:r>
              <a:rPr lang="en-US" sz="20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The deadline </a:t>
            </a:r>
            <a:r>
              <a:rPr lang="en-US" sz="2000" dirty="0">
                <a:latin typeface="Century Gothic" panose="020B0502020202020204" pitchFamily="34" charset="0"/>
              </a:rPr>
              <a:t>for sending the presentation and project info </a:t>
            </a:r>
            <a:r>
              <a:rPr lang="en-US" sz="20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is 20 October. </a:t>
            </a:r>
            <a:r>
              <a:rPr lang="en-US" sz="2000" i="1" dirty="0">
                <a:latin typeface="Century Gothic" panose="020B0502020202020204" pitchFamily="34" charset="0"/>
              </a:rPr>
              <a:t>(We will gladly assist in helping government delegates making as compelling a presentation as possible.)</a:t>
            </a:r>
          </a:p>
          <a:p>
            <a:r>
              <a:rPr lang="en-US" sz="2000" b="1" dirty="0">
                <a:latin typeface="Century Gothic" panose="020B0502020202020204" pitchFamily="34" charset="0"/>
              </a:rPr>
              <a:t>Please follow up with your country’s delegates regarding this presentation and the project information.</a:t>
            </a:r>
          </a:p>
          <a:p>
            <a:r>
              <a:rPr lang="en-US" sz="2000" i="1" dirty="0">
                <a:latin typeface="Century Gothic" panose="020B0502020202020204" pitchFamily="34" charset="0"/>
              </a:rPr>
              <a:t>Also, invitations for the CAREC EIF were sent in September. So far, </a:t>
            </a:r>
            <a:r>
              <a:rPr lang="en-US" sz="2000" b="1" i="1" dirty="0">
                <a:solidFill>
                  <a:srgbClr val="C00000"/>
                </a:solidFill>
                <a:latin typeface="Century Gothic" panose="020B0502020202020204" pitchFamily="34" charset="0"/>
              </a:rPr>
              <a:t>only</a:t>
            </a:r>
            <a:r>
              <a:rPr lang="en-US" sz="2000" i="1" dirty="0">
                <a:latin typeface="Century Gothic" panose="020B0502020202020204" pitchFamily="34" charset="0"/>
              </a:rPr>
              <a:t> </a:t>
            </a:r>
            <a:r>
              <a:rPr lang="en-US" sz="2000" b="1" i="1" dirty="0">
                <a:solidFill>
                  <a:srgbClr val="C00000"/>
                </a:solidFill>
                <a:latin typeface="Century Gothic" panose="020B0502020202020204" pitchFamily="34" charset="0"/>
              </a:rPr>
              <a:t>8 countries have sent in their nominees</a:t>
            </a:r>
            <a:r>
              <a:rPr lang="en-US" sz="2000" i="1" dirty="0">
                <a:solidFill>
                  <a:srgbClr val="C00000"/>
                </a:solidFill>
                <a:latin typeface="Century Gothic" panose="020B0502020202020204" pitchFamily="34" charset="0"/>
              </a:rPr>
              <a:t>.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C306526-B936-5495-7646-B7394AF1397B}"/>
              </a:ext>
            </a:extLst>
          </p:cNvPr>
          <p:cNvSpPr txBox="1"/>
          <p:nvPr/>
        </p:nvSpPr>
        <p:spPr>
          <a:xfrm>
            <a:off x="8128415" y="2164866"/>
            <a:ext cx="3744594" cy="345118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latin typeface="Century Gothic" panose="020B0502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2400" b="1"/>
              <a:t>For the matchmaking event on Day 2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400" b="1"/>
              <a:t>(29 November)</a:t>
            </a:r>
            <a:r>
              <a:rPr lang="en-US" sz="2400"/>
              <a:t>:</a:t>
            </a:r>
          </a:p>
          <a:p>
            <a:r>
              <a:rPr lang="en-US" sz="2400"/>
              <a:t>We would appreciate it if each member country could bring some brochures, leaflets, or similar, that can be handed out at each station. i.e., information manual about investing in country A or similar.</a:t>
            </a:r>
          </a:p>
        </p:txBody>
      </p:sp>
      <p:pic>
        <p:nvPicPr>
          <p:cNvPr id="28" name="Picture 27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D11689D5-1943-F67F-51F6-37F99070635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95" y="1546864"/>
            <a:ext cx="914400" cy="914400"/>
          </a:xfrm>
          <a:prstGeom prst="rect">
            <a:avLst/>
          </a:prstGeom>
        </p:spPr>
      </p:pic>
      <p:pic>
        <p:nvPicPr>
          <p:cNvPr id="30" name="Picture 29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DC98A97E-9960-C63F-CB89-07216E48223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95" y="2829127"/>
            <a:ext cx="914400" cy="914400"/>
          </a:xfrm>
          <a:prstGeom prst="rect">
            <a:avLst/>
          </a:prstGeom>
        </p:spPr>
      </p:pic>
      <p:pic>
        <p:nvPicPr>
          <p:cNvPr id="32" name="Picture 31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BEA0F268-1A46-E3DB-CA74-8473F3BE146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0" y="722557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585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E9E38B2-F366-0632-198E-3F040A36B7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4738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9E38B2-F366-0632-198E-3F040A36B7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71AAFB-1570-A76A-76E6-A95FEF87A1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6</a:t>
            </a:fld>
            <a:endParaRPr lang="en-US"/>
          </a:p>
        </p:txBody>
      </p:sp>
      <p:cxnSp>
        <p:nvCxnSpPr>
          <p:cNvPr id="9" name="í$lïḍé">
            <a:extLst>
              <a:ext uri="{FF2B5EF4-FFF2-40B4-BE49-F238E27FC236}">
                <a16:creationId xmlns:a16="http://schemas.microsoft.com/office/drawing/2014/main" id="{517501E7-4FB6-227A-5FC3-9ACFEFEA4B28}"/>
              </a:ext>
            </a:extLst>
          </p:cNvPr>
          <p:cNvCxnSpPr>
            <a:cxnSpLocks/>
          </p:cNvCxnSpPr>
          <p:nvPr/>
        </p:nvCxnSpPr>
        <p:spPr>
          <a:xfrm>
            <a:off x="4062658" y="6273153"/>
            <a:ext cx="7804664" cy="23563"/>
          </a:xfrm>
          <a:prstGeom prst="line">
            <a:avLst/>
          </a:prstGeom>
          <a:ln w="254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îs1ïďè">
            <a:extLst>
              <a:ext uri="{FF2B5EF4-FFF2-40B4-BE49-F238E27FC236}">
                <a16:creationId xmlns:a16="http://schemas.microsoft.com/office/drawing/2014/main" id="{3C24190D-6B9C-9709-1CFB-E4ABFCFDB483}"/>
              </a:ext>
            </a:extLst>
          </p:cNvPr>
          <p:cNvGrpSpPr/>
          <p:nvPr/>
        </p:nvGrpSpPr>
        <p:grpSpPr>
          <a:xfrm>
            <a:off x="5471968" y="6057129"/>
            <a:ext cx="432048" cy="432048"/>
            <a:chOff x="4264950" y="5651169"/>
            <a:chExt cx="432048" cy="432048"/>
          </a:xfrm>
        </p:grpSpPr>
        <p:sp>
          <p:nvSpPr>
            <p:cNvPr id="11" name="ïṩlîďe">
              <a:extLst>
                <a:ext uri="{FF2B5EF4-FFF2-40B4-BE49-F238E27FC236}">
                  <a16:creationId xmlns:a16="http://schemas.microsoft.com/office/drawing/2014/main" id="{3FBAB795-E467-B03A-D636-1B263319CCA2}"/>
                </a:ext>
              </a:extLst>
            </p:cNvPr>
            <p:cNvSpPr/>
            <p:nvPr/>
          </p:nvSpPr>
          <p:spPr>
            <a:xfrm>
              <a:off x="4264950" y="5651169"/>
              <a:ext cx="432048" cy="43204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iślïdé">
              <a:extLst>
                <a:ext uri="{FF2B5EF4-FFF2-40B4-BE49-F238E27FC236}">
                  <a16:creationId xmlns:a16="http://schemas.microsoft.com/office/drawing/2014/main" id="{622F799C-1E3B-9D39-1EBE-9931724C93D1}"/>
                </a:ext>
              </a:extLst>
            </p:cNvPr>
            <p:cNvSpPr/>
            <p:nvPr/>
          </p:nvSpPr>
          <p:spPr>
            <a:xfrm>
              <a:off x="4401650" y="5796308"/>
              <a:ext cx="158649" cy="158649"/>
            </a:xfrm>
            <a:prstGeom prst="chevron">
              <a:avLst/>
            </a:prstGeom>
            <a:solidFill>
              <a:schemeClr val="bg1"/>
            </a:solidFill>
            <a:ln w="605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endParaRPr lang="zh-CN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3" name="í$ľîḑè">
            <a:extLst>
              <a:ext uri="{FF2B5EF4-FFF2-40B4-BE49-F238E27FC236}">
                <a16:creationId xmlns:a16="http://schemas.microsoft.com/office/drawing/2014/main" id="{14AF69FA-0A75-BA39-FFA5-D500534B723F}"/>
              </a:ext>
            </a:extLst>
          </p:cNvPr>
          <p:cNvGrpSpPr/>
          <p:nvPr/>
        </p:nvGrpSpPr>
        <p:grpSpPr>
          <a:xfrm>
            <a:off x="11181480" y="6057129"/>
            <a:ext cx="432048" cy="432048"/>
            <a:chOff x="4264950" y="5651169"/>
            <a:chExt cx="432048" cy="432048"/>
          </a:xfrm>
        </p:grpSpPr>
        <p:sp>
          <p:nvSpPr>
            <p:cNvPr id="14" name="í$ľíḑè">
              <a:extLst>
                <a:ext uri="{FF2B5EF4-FFF2-40B4-BE49-F238E27FC236}">
                  <a16:creationId xmlns:a16="http://schemas.microsoft.com/office/drawing/2014/main" id="{4C0625B8-BD84-36F4-891F-45F6FC0B275F}"/>
                </a:ext>
              </a:extLst>
            </p:cNvPr>
            <p:cNvSpPr/>
            <p:nvPr/>
          </p:nvSpPr>
          <p:spPr>
            <a:xfrm>
              <a:off x="4264950" y="5651169"/>
              <a:ext cx="432048" cy="43204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ísḻiḍê">
              <a:extLst>
                <a:ext uri="{FF2B5EF4-FFF2-40B4-BE49-F238E27FC236}">
                  <a16:creationId xmlns:a16="http://schemas.microsoft.com/office/drawing/2014/main" id="{064A02FB-66C1-EE14-C5BD-5605F8ADB252}"/>
                </a:ext>
              </a:extLst>
            </p:cNvPr>
            <p:cNvSpPr/>
            <p:nvPr/>
          </p:nvSpPr>
          <p:spPr>
            <a:xfrm>
              <a:off x="4401650" y="5796308"/>
              <a:ext cx="158649" cy="158649"/>
            </a:xfrm>
            <a:prstGeom prst="chevron">
              <a:avLst/>
            </a:prstGeom>
            <a:solidFill>
              <a:schemeClr val="bg1"/>
            </a:solidFill>
            <a:ln w="605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endParaRPr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17" name="Title 7">
            <a:extLst>
              <a:ext uri="{FF2B5EF4-FFF2-40B4-BE49-F238E27FC236}">
                <a16:creationId xmlns:a16="http://schemas.microsoft.com/office/drawing/2014/main" id="{6F0ABB95-227F-708A-C8F0-0E1C6229E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739" y="173235"/>
            <a:ext cx="10613383" cy="860387"/>
          </a:xfrm>
        </p:spPr>
        <p:txBody>
          <a:bodyPr vert="horz" anchor="ctr">
            <a:normAutofit/>
          </a:bodyPr>
          <a:lstStyle/>
          <a:p>
            <a:r>
              <a:rPr lang="en-US" sz="3200" b="1">
                <a:solidFill>
                  <a:schemeClr val="accent5">
                    <a:lumMod val="75000"/>
                  </a:schemeClr>
                </a:solidFill>
                <a:latin typeface="Century Gothic"/>
                <a:ea typeface="+mn-ea"/>
                <a:cs typeface="+mn-cs"/>
              </a:rPr>
              <a:t>Way Ahead</a:t>
            </a:r>
            <a:endParaRPr lang="en-US" sz="3200" b="1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0B30706-CF35-0C10-96AB-03485E0410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93099" y="1350403"/>
            <a:ext cx="9896069" cy="5333606"/>
          </a:xfrm>
        </p:spPr>
        <p:txBody>
          <a:bodyPr vert="horz" lIns="91440" tIns="45720" rIns="91440" bIns="45720" rtlCol="0" anchor="ctr">
            <a:noAutofit/>
          </a:bodyPr>
          <a:lstStyle/>
          <a:p>
            <a:pPr marL="0" indent="0">
              <a:spcBef>
                <a:spcPts val="1800"/>
              </a:spcBef>
              <a:spcAft>
                <a:spcPts val="1200"/>
              </a:spcAft>
              <a:buNone/>
            </a:pPr>
            <a:r>
              <a:rPr lang="en-US" sz="2400" dirty="0">
                <a:latin typeface="Century Gothic"/>
              </a:rPr>
              <a:t>Interconnectivity and regional transmission workshop, in Q1 2024.</a:t>
            </a:r>
          </a:p>
          <a:p>
            <a:pPr marL="0" indent="0">
              <a:spcBef>
                <a:spcPts val="1800"/>
              </a:spcBef>
              <a:spcAft>
                <a:spcPts val="1200"/>
              </a:spcAft>
              <a:buNone/>
            </a:pPr>
            <a:r>
              <a:rPr lang="en-US" sz="2400" dirty="0">
                <a:latin typeface="Century Gothic"/>
              </a:rPr>
              <a:t>A study tour to a developed energy trading market (Nordic Region) in 2024 (exact timing to be announced).</a:t>
            </a:r>
          </a:p>
          <a:p>
            <a:pPr marL="0" indent="0">
              <a:spcBef>
                <a:spcPts val="1800"/>
              </a:spcBef>
              <a:spcAft>
                <a:spcPts val="1200"/>
              </a:spcAft>
              <a:buNone/>
            </a:pPr>
            <a:r>
              <a:rPr lang="en-US" sz="2400" dirty="0">
                <a:latin typeface="Century Gothic"/>
              </a:rPr>
              <a:t>The 7th Energy Investment Forum to be held in Kazakhstan (CAREC chair in 2024) in Q4 2024.</a:t>
            </a:r>
          </a:p>
          <a:p>
            <a:pPr marL="0" indent="0">
              <a:spcBef>
                <a:spcPts val="1800"/>
              </a:spcBef>
              <a:spcAft>
                <a:spcPts val="1200"/>
              </a:spcAft>
              <a:buNone/>
            </a:pPr>
            <a:r>
              <a:rPr lang="en-US" sz="2400" dirty="0">
                <a:latin typeface="Century Gothic"/>
              </a:rPr>
              <a:t>A workshop on sustainable heating and energy efficiency in Q1 2025.</a:t>
            </a:r>
          </a:p>
        </p:txBody>
      </p:sp>
      <p:pic>
        <p:nvPicPr>
          <p:cNvPr id="18" name="Picture 17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45A30758-0C4D-58E4-FE32-F12C2B625B1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90" y="4129374"/>
            <a:ext cx="822960" cy="822960"/>
          </a:xfrm>
          <a:prstGeom prst="rect">
            <a:avLst/>
          </a:prstGeom>
        </p:spPr>
      </p:pic>
      <p:pic>
        <p:nvPicPr>
          <p:cNvPr id="19" name="Picture 18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25A849A0-33F0-2CB4-7518-D39B6C07BE3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379" y="2063362"/>
            <a:ext cx="731520" cy="731520"/>
          </a:xfrm>
          <a:prstGeom prst="rect">
            <a:avLst/>
          </a:prstGeom>
        </p:spPr>
      </p:pic>
      <p:pic>
        <p:nvPicPr>
          <p:cNvPr id="20" name="Picture 19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B961E2F6-38E0-FE6C-DD94-C2CABAE5287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90" y="5228256"/>
            <a:ext cx="731520" cy="731520"/>
          </a:xfrm>
          <a:prstGeom prst="rect">
            <a:avLst/>
          </a:prstGeom>
        </p:spPr>
      </p:pic>
      <p:pic>
        <p:nvPicPr>
          <p:cNvPr id="23" name="Picture 22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74077E1F-8C77-26F2-6A80-1CF0115C543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90" y="3070527"/>
            <a:ext cx="731520" cy="731520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26D5FFBF-0595-3F69-F46A-4DBABE1890CA}"/>
              </a:ext>
            </a:extLst>
          </p:cNvPr>
          <p:cNvSpPr txBox="1"/>
          <p:nvPr/>
        </p:nvSpPr>
        <p:spPr>
          <a:xfrm>
            <a:off x="2226957" y="1350403"/>
            <a:ext cx="8954382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800" b="1">
                <a:latin typeface="Century Gothic"/>
              </a:rPr>
              <a:t>Planned Future CAREC Energy Sector Activities:</a:t>
            </a:r>
          </a:p>
        </p:txBody>
      </p:sp>
    </p:spTree>
    <p:extLst>
      <p:ext uri="{BB962C8B-B14F-4D97-AF65-F5344CB8AC3E}">
        <p14:creationId xmlns:p14="http://schemas.microsoft.com/office/powerpoint/2010/main" val="35022397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DAEA74914DCF4CB1BBCF0E2E5EDB11" ma:contentTypeVersion="17" ma:contentTypeDescription="Create a new document." ma:contentTypeScope="" ma:versionID="30482bcb042da94300ab269d05646591">
  <xsd:schema xmlns:xsd="http://www.w3.org/2001/XMLSchema" xmlns:xs="http://www.w3.org/2001/XMLSchema" xmlns:p="http://schemas.microsoft.com/office/2006/metadata/properties" xmlns:ns2="f668aa56-9285-4561-92d6-d6343913a899" xmlns:ns3="4d0bf39f-aee5-4194-a8cf-9eb94d977901" xmlns:ns4="c1fdd505-2570-46c2-bd04-3e0f2d874cf5" targetNamespace="http://schemas.microsoft.com/office/2006/metadata/properties" ma:root="true" ma:fieldsID="43fff43ee8f6aa09ff18a5919b1d8d27" ns2:_="" ns3:_="" ns4:_="">
    <xsd:import namespace="f668aa56-9285-4561-92d6-d6343913a899"/>
    <xsd:import namespace="4d0bf39f-aee5-4194-a8cf-9eb94d977901"/>
    <xsd:import namespace="c1fdd505-2570-46c2-bd04-3e0f2d874cf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MediaServiceLocation" minOccurs="0"/>
                <xsd:element ref="ns3:lcf76f155ced4ddcb4097134ff3c332f" minOccurs="0"/>
                <xsd:element ref="ns4:TaxCatchAll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68aa56-9285-4561-92d6-d6343913a89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0bf39f-aee5-4194-a8cf-9eb94d97790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115af50e-efb3-4a0e-b425-875ff625e09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fdd505-2570-46c2-bd04-3e0f2d874cf5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cf1b58bf-0af3-43f6-8149-3fc5501c152c}" ma:internalName="TaxCatchAll" ma:showField="CatchAllData" ma:web="f668aa56-9285-4561-92d6-d6343913a89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d0bf39f-aee5-4194-a8cf-9eb94d977901">
      <Terms xmlns="http://schemas.microsoft.com/office/infopath/2007/PartnerControls"/>
    </lcf76f155ced4ddcb4097134ff3c332f>
    <TaxCatchAll xmlns="c1fdd505-2570-46c2-bd04-3e0f2d874cf5" xsi:nil="true"/>
  </documentManagement>
</p:properties>
</file>

<file path=customXml/itemProps1.xml><?xml version="1.0" encoding="utf-8"?>
<ds:datastoreItem xmlns:ds="http://schemas.openxmlformats.org/officeDocument/2006/customXml" ds:itemID="{90874052-6454-449E-A57E-B13879DA84D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D886D26-4809-418B-A9FE-83BCAA690ED0}">
  <ds:schemaRefs>
    <ds:schemaRef ds:uri="4d0bf39f-aee5-4194-a8cf-9eb94d977901"/>
    <ds:schemaRef ds:uri="c1fdd505-2570-46c2-bd04-3e0f2d874cf5"/>
    <ds:schemaRef ds:uri="f668aa56-9285-4561-92d6-d6343913a89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9835D73B-52B6-4C33-96B6-BF3B1E78EB5B}">
  <ds:schemaRefs>
    <ds:schemaRef ds:uri="http://purl.org/dc/terms/"/>
    <ds:schemaRef ds:uri="http://schemas.microsoft.com/office/2006/documentManagement/types"/>
    <ds:schemaRef ds:uri="4d0bf39f-aee5-4194-a8cf-9eb94d977901"/>
    <ds:schemaRef ds:uri="http://schemas.openxmlformats.org/package/2006/metadata/core-properties"/>
    <ds:schemaRef ds:uri="http://purl.org/dc/elements/1.1/"/>
    <ds:schemaRef ds:uri="c1fdd505-2570-46c2-bd04-3e0f2d874cf5"/>
    <ds:schemaRef ds:uri="f668aa56-9285-4561-92d6-d6343913a899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2</TotalTime>
  <Words>646</Words>
  <Application>Microsoft Office PowerPoint</Application>
  <PresentationFormat>Widescreen</PresentationFormat>
  <Paragraphs>49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</vt:lpstr>
      <vt:lpstr>Calibri Light</vt:lpstr>
      <vt:lpstr>Century Gothic</vt:lpstr>
      <vt:lpstr>Office Theme</vt:lpstr>
      <vt:lpstr>think-cell Slide</vt:lpstr>
      <vt:lpstr>  Update on the Upcoming Energy Investment Forum Tbilisi, 28–29 November 2023</vt:lpstr>
      <vt:lpstr>Background</vt:lpstr>
      <vt:lpstr>Purpose</vt:lpstr>
      <vt:lpstr>Status of 6th CAREC Energy Investment Forum</vt:lpstr>
      <vt:lpstr>Expectations from CAREC Governments </vt:lpstr>
      <vt:lpstr>Way Ahead</vt:lpstr>
    </vt:vector>
  </TitlesOfParts>
  <Company>Asian Development Ban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tin S. Jaer</dc:creator>
  <cp:lastModifiedBy>Altynay Arapova</cp:lastModifiedBy>
  <cp:revision>4</cp:revision>
  <cp:lastPrinted>2023-10-12T01:30:42Z</cp:lastPrinted>
  <dcterms:created xsi:type="dcterms:W3CDTF">2023-05-24T07:25:37Z</dcterms:created>
  <dcterms:modified xsi:type="dcterms:W3CDTF">2023-10-17T07:20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17d4574-7375-4d17-b29c-6e4c6df0fcb0_Enabled">
    <vt:lpwstr>true</vt:lpwstr>
  </property>
  <property fmtid="{D5CDD505-2E9C-101B-9397-08002B2CF9AE}" pid="3" name="MSIP_Label_817d4574-7375-4d17-b29c-6e4c6df0fcb0_SetDate">
    <vt:lpwstr>2023-05-24T07:25:37Z</vt:lpwstr>
  </property>
  <property fmtid="{D5CDD505-2E9C-101B-9397-08002B2CF9AE}" pid="4" name="MSIP_Label_817d4574-7375-4d17-b29c-6e4c6df0fcb0_Method">
    <vt:lpwstr>Standard</vt:lpwstr>
  </property>
  <property fmtid="{D5CDD505-2E9C-101B-9397-08002B2CF9AE}" pid="5" name="MSIP_Label_817d4574-7375-4d17-b29c-6e4c6df0fcb0_Name">
    <vt:lpwstr>ADB Internal</vt:lpwstr>
  </property>
  <property fmtid="{D5CDD505-2E9C-101B-9397-08002B2CF9AE}" pid="6" name="MSIP_Label_817d4574-7375-4d17-b29c-6e4c6df0fcb0_SiteId">
    <vt:lpwstr>9495d6bb-41c2-4c58-848f-92e52cf3d640</vt:lpwstr>
  </property>
  <property fmtid="{D5CDD505-2E9C-101B-9397-08002B2CF9AE}" pid="7" name="MSIP_Label_817d4574-7375-4d17-b29c-6e4c6df0fcb0_ActionId">
    <vt:lpwstr>16d94461-2355-4af3-8f78-361d57ecb44d</vt:lpwstr>
  </property>
  <property fmtid="{D5CDD505-2E9C-101B-9397-08002B2CF9AE}" pid="8" name="MSIP_Label_817d4574-7375-4d17-b29c-6e4c6df0fcb0_ContentBits">
    <vt:lpwstr>2</vt:lpwstr>
  </property>
  <property fmtid="{D5CDD505-2E9C-101B-9397-08002B2CF9AE}" pid="9" name="ClassificationContentMarkingFooterLocations">
    <vt:lpwstr>Office Theme:8</vt:lpwstr>
  </property>
  <property fmtid="{D5CDD505-2E9C-101B-9397-08002B2CF9AE}" pid="10" name="ClassificationContentMarkingFooterText">
    <vt:lpwstr>INTERNAL. This information is accessible to ADB Management and staff. It may be shared outside ADB with appropriate permission.</vt:lpwstr>
  </property>
  <property fmtid="{D5CDD505-2E9C-101B-9397-08002B2CF9AE}" pid="11" name="ContentTypeId">
    <vt:lpwstr>0x0101009FDAEA74914DCF4CB1BBCF0E2E5EDB11</vt:lpwstr>
  </property>
  <property fmtid="{D5CDD505-2E9C-101B-9397-08002B2CF9AE}" pid="12" name="MediaServiceImageTags">
    <vt:lpwstr/>
  </property>
</Properties>
</file>